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7" r:id="rId4"/>
  </p:sldMasterIdLst>
  <p:notesMasterIdLst>
    <p:notesMasterId r:id="rId68"/>
  </p:notesMasterIdLst>
  <p:sldIdLst>
    <p:sldId id="256" r:id="rId5"/>
    <p:sldId id="309" r:id="rId6"/>
    <p:sldId id="257" r:id="rId7"/>
    <p:sldId id="310" r:id="rId8"/>
    <p:sldId id="311" r:id="rId9"/>
    <p:sldId id="312" r:id="rId10"/>
    <p:sldId id="315" r:id="rId11"/>
    <p:sldId id="316" r:id="rId12"/>
    <p:sldId id="313" r:id="rId13"/>
    <p:sldId id="317" r:id="rId14"/>
    <p:sldId id="338" r:id="rId15"/>
    <p:sldId id="314" r:id="rId16"/>
    <p:sldId id="319" r:id="rId17"/>
    <p:sldId id="320" r:id="rId18"/>
    <p:sldId id="323" r:id="rId19"/>
    <p:sldId id="321" r:id="rId20"/>
    <p:sldId id="324" r:id="rId21"/>
    <p:sldId id="325" r:id="rId22"/>
    <p:sldId id="326" r:id="rId23"/>
    <p:sldId id="327" r:id="rId24"/>
    <p:sldId id="337" r:id="rId25"/>
    <p:sldId id="328" r:id="rId26"/>
    <p:sldId id="322" r:id="rId27"/>
    <p:sldId id="330" r:id="rId28"/>
    <p:sldId id="329" r:id="rId29"/>
    <p:sldId id="331" r:id="rId30"/>
    <p:sldId id="332" r:id="rId31"/>
    <p:sldId id="333" r:id="rId32"/>
    <p:sldId id="334" r:id="rId33"/>
    <p:sldId id="335" r:id="rId34"/>
    <p:sldId id="336" r:id="rId35"/>
    <p:sldId id="339" r:id="rId36"/>
    <p:sldId id="370" r:id="rId37"/>
    <p:sldId id="350" r:id="rId38"/>
    <p:sldId id="351" r:id="rId39"/>
    <p:sldId id="352" r:id="rId40"/>
    <p:sldId id="353" r:id="rId41"/>
    <p:sldId id="354" r:id="rId42"/>
    <p:sldId id="355" r:id="rId43"/>
    <p:sldId id="371" r:id="rId44"/>
    <p:sldId id="356" r:id="rId45"/>
    <p:sldId id="357" r:id="rId46"/>
    <p:sldId id="358" r:id="rId47"/>
    <p:sldId id="359" r:id="rId48"/>
    <p:sldId id="360" r:id="rId49"/>
    <p:sldId id="361" r:id="rId50"/>
    <p:sldId id="362" r:id="rId51"/>
    <p:sldId id="363" r:id="rId52"/>
    <p:sldId id="364" r:id="rId53"/>
    <p:sldId id="365" r:id="rId54"/>
    <p:sldId id="366" r:id="rId55"/>
    <p:sldId id="367" r:id="rId56"/>
    <p:sldId id="368" r:id="rId57"/>
    <p:sldId id="369" r:id="rId58"/>
    <p:sldId id="372" r:id="rId59"/>
    <p:sldId id="374" r:id="rId60"/>
    <p:sldId id="377" r:id="rId61"/>
    <p:sldId id="379" r:id="rId62"/>
    <p:sldId id="380" r:id="rId63"/>
    <p:sldId id="381" r:id="rId64"/>
    <p:sldId id="383" r:id="rId65"/>
    <p:sldId id="382" r:id="rId66"/>
    <p:sldId id="347" r:id="rId67"/>
  </p:sldIdLst>
  <p:sldSz cx="12192000" cy="6858000"/>
  <p:notesSz cx="6858000" cy="9144000"/>
  <p:custDataLst>
    <p:tags r:id="rId6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92FFCDD-6DD1-6A51-4AB3-9243832AEC79}" name="Taylor, Lyn" initials="TL" userId="S::Lyn.Taylor@parexel.com::c7edfcec-8e1b-44a5-b320-97a8b99570d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A5E8"/>
    <a:srgbClr val="FFDFDD"/>
    <a:srgbClr val="DEFEDB"/>
    <a:srgbClr val="F43A54"/>
    <a:srgbClr val="78C2AD"/>
    <a:srgbClr val="5FCBE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898" autoAdjust="0"/>
    <p:restoredTop sz="79463" autoAdjust="0"/>
  </p:normalViewPr>
  <p:slideViewPr>
    <p:cSldViewPr snapToGrid="0">
      <p:cViewPr varScale="1">
        <p:scale>
          <a:sx n="93" d="100"/>
          <a:sy n="93" d="100"/>
        </p:scale>
        <p:origin x="1184" y="208"/>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microsoft.com/office/2018/10/relationships/authors" Targe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A4DCF4-37BD-4C0D-8FA1-126C9D00A63B}" type="datetimeFigureOut">
              <a:rPr lang="en-GB" smtClean="0"/>
              <a:t>18/10/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CD2611-A782-4A54-A17C-001C00578276}" type="slidenum">
              <a:rPr lang="en-GB" smtClean="0"/>
              <a:t>‹#›</a:t>
            </a:fld>
            <a:endParaRPr lang="en-GB"/>
          </a:p>
        </p:txBody>
      </p:sp>
    </p:spTree>
    <p:extLst>
      <p:ext uri="{BB962C8B-B14F-4D97-AF65-F5344CB8AC3E}">
        <p14:creationId xmlns:p14="http://schemas.microsoft.com/office/powerpoint/2010/main" val="19231761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F7CD2611-A782-4A54-A17C-001C00578276}" type="slidenum">
              <a:rPr lang="en-GB" smtClean="0"/>
              <a:t>1</a:t>
            </a:fld>
            <a:endParaRPr lang="en-GB"/>
          </a:p>
        </p:txBody>
      </p:sp>
    </p:spTree>
    <p:extLst>
      <p:ext uri="{BB962C8B-B14F-4D97-AF65-F5344CB8AC3E}">
        <p14:creationId xmlns:p14="http://schemas.microsoft.com/office/powerpoint/2010/main" val="287874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 can be super helpful in identifying things, such as what commit was used to create the plot for Journal A. But, Camille needs to update that plot. A single commit is tagged, so if Camille updated the code that tag wouldn’t travel to the latest. Plus, Camille doesn’t want to undo any of the work she has done on the graph for Journal B </a:t>
            </a:r>
          </a:p>
        </p:txBody>
      </p:sp>
      <p:sp>
        <p:nvSpPr>
          <p:cNvPr id="4" name="Slide Number Placeholder 3"/>
          <p:cNvSpPr>
            <a:spLocks noGrp="1"/>
          </p:cNvSpPr>
          <p:nvPr>
            <p:ph type="sldNum" sz="quarter" idx="5"/>
          </p:nvPr>
        </p:nvSpPr>
        <p:spPr/>
        <p:txBody>
          <a:bodyPr/>
          <a:lstStyle/>
          <a:p>
            <a:fld id="{F7CD2611-A782-4A54-A17C-001C00578276}" type="slidenum">
              <a:rPr lang="en-GB" smtClean="0"/>
              <a:t>12</a:t>
            </a:fld>
            <a:endParaRPr lang="en-GB"/>
          </a:p>
        </p:txBody>
      </p:sp>
    </p:spTree>
    <p:extLst>
      <p:ext uri="{BB962C8B-B14F-4D97-AF65-F5344CB8AC3E}">
        <p14:creationId xmlns:p14="http://schemas.microsoft.com/office/powerpoint/2010/main" val="1527462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Branching allows us to make </a:t>
            </a:r>
            <a:r>
              <a:rPr lang="en-US" sz="1200" b="1" dirty="0"/>
              <a:t>non-linear changes </a:t>
            </a:r>
            <a:r>
              <a:rPr lang="en-US" sz="1200" dirty="0"/>
              <a:t>to the code.</a:t>
            </a:r>
          </a:p>
          <a:p>
            <a:pPr marL="171450" indent="-171450">
              <a:buFont typeface="Arial" panose="020B0604020202020204" pitchFamily="34" charset="0"/>
              <a:buChar char="•"/>
            </a:pPr>
            <a:r>
              <a:rPr lang="en-US" sz="1200" dirty="0"/>
              <a:t>By making changes to branch 1 we will leave the main branch unaffected </a:t>
            </a:r>
          </a:p>
          <a:p>
            <a:pPr marL="171450" indent="-171450">
              <a:buFont typeface="Arial" panose="020B0604020202020204" pitchFamily="34" charset="0"/>
              <a:buChar char="•"/>
            </a:pPr>
            <a:r>
              <a:rPr lang="en-US" sz="1200" dirty="0"/>
              <a:t>By convention, the primary branch where most branches originate will be called main </a:t>
            </a:r>
          </a:p>
          <a:p>
            <a:r>
              <a:rPr lang="en-US" sz="1200" dirty="0"/>
              <a:t>Any commit can have a branch off of it </a:t>
            </a:r>
          </a:p>
          <a:p>
            <a:r>
              <a:rPr lang="en-US" sz="1200" dirty="0"/>
              <a:t>There is no limit to the number of branches that can be made, you can even have multiple branches off the same commit </a:t>
            </a:r>
          </a:p>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13</a:t>
            </a:fld>
            <a:endParaRPr lang="en-GB"/>
          </a:p>
        </p:txBody>
      </p:sp>
    </p:spTree>
    <p:extLst>
      <p:ext uri="{BB962C8B-B14F-4D97-AF65-F5344CB8AC3E}">
        <p14:creationId xmlns:p14="http://schemas.microsoft.com/office/powerpoint/2010/main" val="28914268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checking out different commits </a:t>
            </a:r>
          </a:p>
          <a:p>
            <a:r>
              <a:rPr lang="en-US" dirty="0"/>
              <a:t>The commit that is being actively check-out is called the HEAD </a:t>
            </a:r>
          </a:p>
        </p:txBody>
      </p:sp>
      <p:sp>
        <p:nvSpPr>
          <p:cNvPr id="4" name="Slide Number Placeholder 3"/>
          <p:cNvSpPr>
            <a:spLocks noGrp="1"/>
          </p:cNvSpPr>
          <p:nvPr>
            <p:ph type="sldNum" sz="quarter" idx="5"/>
          </p:nvPr>
        </p:nvSpPr>
        <p:spPr/>
        <p:txBody>
          <a:bodyPr/>
          <a:lstStyle/>
          <a:p>
            <a:fld id="{F7CD2611-A782-4A54-A17C-001C00578276}" type="slidenum">
              <a:rPr lang="en-GB" smtClean="0"/>
              <a:t>15</a:t>
            </a:fld>
            <a:endParaRPr lang="en-GB"/>
          </a:p>
        </p:txBody>
      </p:sp>
    </p:spTree>
    <p:extLst>
      <p:ext uri="{BB962C8B-B14F-4D97-AF65-F5344CB8AC3E}">
        <p14:creationId xmlns:p14="http://schemas.microsoft.com/office/powerpoint/2010/main" val="3480409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hing that makes branching super powerful is our ability to combine everything back together. In git there is called merging </a:t>
            </a:r>
          </a:p>
          <a:p>
            <a:r>
              <a:rPr lang="en-US" dirty="0"/>
              <a:t>To merge all we need to do is combine the changes from branch 1 into main this can be done through a pull request on </a:t>
            </a:r>
            <a:r>
              <a:rPr lang="en-US" dirty="0" err="1"/>
              <a:t>github</a:t>
            </a:r>
            <a:r>
              <a:rPr lang="en-US" dirty="0"/>
              <a:t> or via the git merge command. </a:t>
            </a:r>
          </a:p>
          <a:p>
            <a:r>
              <a:rPr lang="en-US" dirty="0"/>
              <a:t>In order </a:t>
            </a:r>
          </a:p>
        </p:txBody>
      </p:sp>
      <p:sp>
        <p:nvSpPr>
          <p:cNvPr id="4" name="Slide Number Placeholder 3"/>
          <p:cNvSpPr>
            <a:spLocks noGrp="1"/>
          </p:cNvSpPr>
          <p:nvPr>
            <p:ph type="sldNum" sz="quarter" idx="5"/>
          </p:nvPr>
        </p:nvSpPr>
        <p:spPr/>
        <p:txBody>
          <a:bodyPr/>
          <a:lstStyle/>
          <a:p>
            <a:fld id="{F7CD2611-A782-4A54-A17C-001C00578276}" type="slidenum">
              <a:rPr lang="en-GB" smtClean="0"/>
              <a:t>16</a:t>
            </a:fld>
            <a:endParaRPr lang="en-GB"/>
          </a:p>
        </p:txBody>
      </p:sp>
    </p:spTree>
    <p:extLst>
      <p:ext uri="{BB962C8B-B14F-4D97-AF65-F5344CB8AC3E}">
        <p14:creationId xmlns:p14="http://schemas.microsoft.com/office/powerpoint/2010/main" val="32986450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times when you are trying to merge two branches together you can get a merge conflict. This conflict arises because git is dumb! It is only tracking differences and not when you make those changes. So, if two branches are changing the cam line in the same same file git won’t know which one to keep. </a:t>
            </a:r>
          </a:p>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17</a:t>
            </a:fld>
            <a:endParaRPr lang="en-GB"/>
          </a:p>
        </p:txBody>
      </p:sp>
    </p:spTree>
    <p:extLst>
      <p:ext uri="{BB962C8B-B14F-4D97-AF65-F5344CB8AC3E}">
        <p14:creationId xmlns:p14="http://schemas.microsoft.com/office/powerpoint/2010/main" val="2216920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don’t worry merge conflicts are pretty easy to fix. When you try to merge the branches, you will get a merge conflict error and then it will tell you which files you need to fix. To fix the files you look at the code looking for &gt;&gt;&gt;&gt;, ====, and &lt;&lt;&lt;&lt;. These are the places where there are issues. If you want to keep all the code you can just delete the &gt;&gt;&gt;, ====, &lt;&lt;&lt;, but if you only want to keep stuff from branch one then you are only going to keep the top bit and everything else you are going to delete</a:t>
            </a:r>
          </a:p>
        </p:txBody>
      </p:sp>
      <p:sp>
        <p:nvSpPr>
          <p:cNvPr id="4" name="Slide Number Placeholder 3"/>
          <p:cNvSpPr>
            <a:spLocks noGrp="1"/>
          </p:cNvSpPr>
          <p:nvPr>
            <p:ph type="sldNum" sz="quarter" idx="5"/>
          </p:nvPr>
        </p:nvSpPr>
        <p:spPr/>
        <p:txBody>
          <a:bodyPr/>
          <a:lstStyle/>
          <a:p>
            <a:fld id="{F7CD2611-A782-4A54-A17C-001C00578276}" type="slidenum">
              <a:rPr lang="en-GB" smtClean="0"/>
              <a:t>18</a:t>
            </a:fld>
            <a:endParaRPr lang="en-GB"/>
          </a:p>
        </p:txBody>
      </p:sp>
    </p:spTree>
    <p:extLst>
      <p:ext uri="{BB962C8B-B14F-4D97-AF65-F5344CB8AC3E}">
        <p14:creationId xmlns:p14="http://schemas.microsoft.com/office/powerpoint/2010/main" val="17589062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19</a:t>
            </a:fld>
            <a:endParaRPr lang="en-GB"/>
          </a:p>
        </p:txBody>
      </p:sp>
    </p:spTree>
    <p:extLst>
      <p:ext uri="{BB962C8B-B14F-4D97-AF65-F5344CB8AC3E}">
        <p14:creationId xmlns:p14="http://schemas.microsoft.com/office/powerpoint/2010/main" val="36023897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checking out different commits </a:t>
            </a:r>
          </a:p>
          <a:p>
            <a:r>
              <a:rPr lang="en-US" dirty="0"/>
              <a:t>The commit that is being actively check-out is called the HEAD </a:t>
            </a:r>
          </a:p>
        </p:txBody>
      </p:sp>
      <p:sp>
        <p:nvSpPr>
          <p:cNvPr id="4" name="Slide Number Placeholder 3"/>
          <p:cNvSpPr>
            <a:spLocks noGrp="1"/>
          </p:cNvSpPr>
          <p:nvPr>
            <p:ph type="sldNum" sz="quarter" idx="5"/>
          </p:nvPr>
        </p:nvSpPr>
        <p:spPr/>
        <p:txBody>
          <a:bodyPr/>
          <a:lstStyle/>
          <a:p>
            <a:fld id="{F7CD2611-A782-4A54-A17C-001C00578276}" type="slidenum">
              <a:rPr lang="en-GB" smtClean="0"/>
              <a:t>20</a:t>
            </a:fld>
            <a:endParaRPr lang="en-GB"/>
          </a:p>
        </p:txBody>
      </p:sp>
    </p:spTree>
    <p:extLst>
      <p:ext uri="{BB962C8B-B14F-4D97-AF65-F5344CB8AC3E}">
        <p14:creationId xmlns:p14="http://schemas.microsoft.com/office/powerpoint/2010/main" val="35191639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everything is going great for Camille, she has been able to to pull everything together for Journal A and Journal B. But she needs some help finishing up things up, so Sylvie is going to join the team. But, Camille wants to share all the wonderful work she has been doing with git! </a:t>
            </a:r>
          </a:p>
        </p:txBody>
      </p:sp>
      <p:sp>
        <p:nvSpPr>
          <p:cNvPr id="4" name="Slide Number Placeholder 3"/>
          <p:cNvSpPr>
            <a:spLocks noGrp="1"/>
          </p:cNvSpPr>
          <p:nvPr>
            <p:ph type="sldNum" sz="quarter" idx="5"/>
          </p:nvPr>
        </p:nvSpPr>
        <p:spPr/>
        <p:txBody>
          <a:bodyPr/>
          <a:lstStyle/>
          <a:p>
            <a:fld id="{F7CD2611-A782-4A54-A17C-001C00578276}" type="slidenum">
              <a:rPr lang="en-GB" smtClean="0"/>
              <a:t>22</a:t>
            </a:fld>
            <a:endParaRPr lang="en-GB"/>
          </a:p>
        </p:txBody>
      </p:sp>
    </p:spTree>
    <p:extLst>
      <p:ext uri="{BB962C8B-B14F-4D97-AF65-F5344CB8AC3E}">
        <p14:creationId xmlns:p14="http://schemas.microsoft.com/office/powerpoint/2010/main" val="40934104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mille now wants to share her code with Sylvie, but it is only on her computer. To share the code she is going to need to put it online so Sylvie can pick it up. </a:t>
            </a:r>
          </a:p>
          <a:p>
            <a:endParaRPr lang="en-US" dirty="0"/>
          </a:p>
          <a:p>
            <a:r>
              <a:rPr lang="en-US" dirty="0"/>
              <a:t>This is where the cloud-based services like </a:t>
            </a:r>
            <a:r>
              <a:rPr lang="en-US" dirty="0" err="1"/>
              <a:t>github</a:t>
            </a:r>
            <a:r>
              <a:rPr lang="en-US" dirty="0"/>
              <a:t>, bitbucket, and </a:t>
            </a:r>
            <a:r>
              <a:rPr lang="en-US" dirty="0" err="1"/>
              <a:t>gitlabs</a:t>
            </a:r>
            <a:r>
              <a:rPr lang="en-US" dirty="0"/>
              <a:t> come in. They work by mirroring your local git network in the cloud. The cloud is generally referred to as the remote. The exact location in the cloud where the repo is is called the remote </a:t>
            </a:r>
          </a:p>
        </p:txBody>
      </p:sp>
      <p:sp>
        <p:nvSpPr>
          <p:cNvPr id="4" name="Slide Number Placeholder 3"/>
          <p:cNvSpPr>
            <a:spLocks noGrp="1"/>
          </p:cNvSpPr>
          <p:nvPr>
            <p:ph type="sldNum" sz="quarter" idx="5"/>
          </p:nvPr>
        </p:nvSpPr>
        <p:spPr/>
        <p:txBody>
          <a:bodyPr/>
          <a:lstStyle/>
          <a:p>
            <a:fld id="{F7CD2611-A782-4A54-A17C-001C00578276}" type="slidenum">
              <a:rPr lang="en-GB" smtClean="0"/>
              <a:t>23</a:t>
            </a:fld>
            <a:endParaRPr lang="en-GB"/>
          </a:p>
        </p:txBody>
      </p:sp>
    </p:spTree>
    <p:extLst>
      <p:ext uri="{BB962C8B-B14F-4D97-AF65-F5344CB8AC3E}">
        <p14:creationId xmlns:p14="http://schemas.microsoft.com/office/powerpoint/2010/main" val="1092994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will be an interactive course </a:t>
            </a:r>
          </a:p>
          <a:p>
            <a:r>
              <a:rPr lang="en-US" dirty="0"/>
              <a:t>Questions in the chat box </a:t>
            </a:r>
          </a:p>
        </p:txBody>
      </p:sp>
      <p:sp>
        <p:nvSpPr>
          <p:cNvPr id="4" name="Slide Number Placeholder 3"/>
          <p:cNvSpPr>
            <a:spLocks noGrp="1"/>
          </p:cNvSpPr>
          <p:nvPr>
            <p:ph type="sldNum" sz="quarter" idx="5"/>
          </p:nvPr>
        </p:nvSpPr>
        <p:spPr/>
        <p:txBody>
          <a:bodyPr/>
          <a:lstStyle/>
          <a:p>
            <a:fld id="{F7CD2611-A782-4A54-A17C-001C00578276}" type="slidenum">
              <a:rPr lang="en-GB" smtClean="0"/>
              <a:t>3</a:t>
            </a:fld>
            <a:endParaRPr lang="en-GB"/>
          </a:p>
        </p:txBody>
      </p:sp>
    </p:spTree>
    <p:extLst>
      <p:ext uri="{BB962C8B-B14F-4D97-AF65-F5344CB8AC3E}">
        <p14:creationId xmlns:p14="http://schemas.microsoft.com/office/powerpoint/2010/main" val="2790132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The first thing Camille is going to do in order to share the code with Sylvia is to make a repository somewhere on either </a:t>
            </a:r>
            <a:r>
              <a:rPr lang="en-US" dirty="0" err="1"/>
              <a:t>github</a:t>
            </a:r>
            <a:r>
              <a:rPr lang="en-US" dirty="0"/>
              <a:t>, </a:t>
            </a:r>
            <a:r>
              <a:rPr lang="en-US" dirty="0" err="1"/>
              <a:t>gitlab</a:t>
            </a:r>
            <a:r>
              <a:rPr lang="en-US" dirty="0"/>
              <a:t>, or bitbucket </a:t>
            </a:r>
          </a:p>
          <a:p>
            <a:pPr marL="228600" indent="-228600">
              <a:buFont typeface="+mj-lt"/>
              <a:buAutoNum type="arabicPeriod"/>
            </a:pPr>
            <a:r>
              <a:rPr lang="en-US" dirty="0"/>
              <a:t>Now she is going to set the origin in her local repository to be the repo she setup and then she is going to push the code to the remote </a:t>
            </a:r>
          </a:p>
          <a:p>
            <a:pPr marL="228600" indent="-228600">
              <a:buFont typeface="+mj-lt"/>
              <a:buAutoNum type="arabicPeriod"/>
            </a:pPr>
            <a:r>
              <a:rPr lang="en-US" dirty="0"/>
              <a:t>Finally Sylvie can pull those changes to her local computer which will allow her to work </a:t>
            </a:r>
          </a:p>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24</a:t>
            </a:fld>
            <a:endParaRPr lang="en-GB"/>
          </a:p>
        </p:txBody>
      </p:sp>
    </p:spTree>
    <p:extLst>
      <p:ext uri="{BB962C8B-B14F-4D97-AF65-F5344CB8AC3E}">
        <p14:creationId xmlns:p14="http://schemas.microsoft.com/office/powerpoint/2010/main" val="23242569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Sylvie has made her own branch based off the tagged Journal A plot commit. She wants to share this back to Camille </a:t>
            </a:r>
          </a:p>
          <a:p>
            <a:pPr marL="228600" indent="-228600">
              <a:buFont typeface="+mj-lt"/>
              <a:buAutoNum type="arabicPeriod"/>
            </a:pPr>
            <a:r>
              <a:rPr lang="en-US" dirty="0"/>
              <a:t>To do this she pushes her code back to the origin. Now her branch is in the remote as well as Camille’s main branch </a:t>
            </a:r>
          </a:p>
          <a:p>
            <a:pPr marL="228600" indent="-228600">
              <a:buFont typeface="+mj-lt"/>
              <a:buAutoNum type="arabicPeriod"/>
            </a:pPr>
            <a:r>
              <a:rPr lang="en-US" dirty="0"/>
              <a:t>Camille wants to be able have some of Sylvie’s code she pulls the repository and it adds Sylvie’s branch to her local working area </a:t>
            </a:r>
          </a:p>
          <a:p>
            <a:pPr marL="228600" indent="-228600">
              <a:buFont typeface="+mj-lt"/>
              <a:buAutoNum type="arabicPeriod"/>
            </a:pPr>
            <a:endParaRPr lang="en-US" dirty="0"/>
          </a:p>
          <a:p>
            <a:pPr marL="228600" indent="-228600">
              <a:buFont typeface="+mj-lt"/>
              <a:buAutoNum type="arabicPeriod"/>
            </a:pPr>
            <a:endParaRPr lang="en-US" dirty="0"/>
          </a:p>
          <a:p>
            <a:pPr marL="0" indent="0">
              <a:buFont typeface="+mj-lt"/>
              <a:buNone/>
            </a:pPr>
            <a:r>
              <a:rPr lang="en-US" dirty="0"/>
              <a:t>Note: Camille is only pulling the branch down cause she already have the repo locally, you only need to clone for the first action</a:t>
            </a:r>
          </a:p>
          <a:p>
            <a:pPr marL="228600" indent="-228600">
              <a:buFont typeface="+mj-lt"/>
              <a:buAutoNum type="arabicPeriod"/>
            </a:pPr>
            <a:endParaRPr lang="en-US" dirty="0"/>
          </a:p>
          <a:p>
            <a:pPr marL="228600" indent="-228600">
              <a:buFont typeface="+mj-lt"/>
              <a:buAutoNum type="arabicPeriod"/>
            </a:pPr>
            <a:endParaRPr lang="en-US" dirty="0"/>
          </a:p>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25</a:t>
            </a:fld>
            <a:endParaRPr lang="en-GB"/>
          </a:p>
        </p:txBody>
      </p:sp>
    </p:spTree>
    <p:extLst>
      <p:ext uri="{BB962C8B-B14F-4D97-AF65-F5344CB8AC3E}">
        <p14:creationId xmlns:p14="http://schemas.microsoft.com/office/powerpoint/2010/main" val="42017686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26</a:t>
            </a:fld>
            <a:endParaRPr lang="en-GB"/>
          </a:p>
        </p:txBody>
      </p:sp>
    </p:spTree>
    <p:extLst>
      <p:ext uri="{BB962C8B-B14F-4D97-AF65-F5344CB8AC3E}">
        <p14:creationId xmlns:p14="http://schemas.microsoft.com/office/powerpoint/2010/main" val="13150411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checking out different commits </a:t>
            </a:r>
          </a:p>
          <a:p>
            <a:r>
              <a:rPr lang="en-US" dirty="0"/>
              <a:t>The commit that is being actively check-out is called the HEAD </a:t>
            </a:r>
          </a:p>
        </p:txBody>
      </p:sp>
      <p:sp>
        <p:nvSpPr>
          <p:cNvPr id="4" name="Slide Number Placeholder 3"/>
          <p:cNvSpPr>
            <a:spLocks noGrp="1"/>
          </p:cNvSpPr>
          <p:nvPr>
            <p:ph type="sldNum" sz="quarter" idx="5"/>
          </p:nvPr>
        </p:nvSpPr>
        <p:spPr/>
        <p:txBody>
          <a:bodyPr/>
          <a:lstStyle/>
          <a:p>
            <a:fld id="{F7CD2611-A782-4A54-A17C-001C00578276}" type="slidenum">
              <a:rPr lang="en-GB" smtClean="0"/>
              <a:t>27</a:t>
            </a:fld>
            <a:endParaRPr lang="en-GB"/>
          </a:p>
        </p:txBody>
      </p:sp>
    </p:spTree>
    <p:extLst>
      <p:ext uri="{BB962C8B-B14F-4D97-AF65-F5344CB8AC3E}">
        <p14:creationId xmlns:p14="http://schemas.microsoft.com/office/powerpoint/2010/main" val="23801291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imagine Edward, some person on the internet unrelated to Camille’s project wants to contribute.</a:t>
            </a:r>
          </a:p>
          <a:p>
            <a:endParaRPr lang="en-US" dirty="0"/>
          </a:p>
          <a:p>
            <a:r>
              <a:rPr lang="en-US" dirty="0"/>
              <a:t>As Camille wants to retain control of her original project, she could protect it from outside changes and thus prohibit Edward from branching off of it. In order to still be able to use Camille’s work as a starting point, Edward might want to fork Camille’s repo. This creates a direct copy of the remote where Edward enjoys full ownership. He can apply changes as he wishes.</a:t>
            </a:r>
          </a:p>
          <a:p>
            <a:endParaRPr lang="en-US" dirty="0"/>
          </a:p>
          <a:p>
            <a:r>
              <a:rPr lang="en-US" dirty="0"/>
              <a:t>At a later point in time Edward can decide to open a pull request (PR) and propose his changes to the original project. This gives Camille the option to review changes to her code in the PR and decide which parts of the fork to merge into her original project.</a:t>
            </a:r>
          </a:p>
        </p:txBody>
      </p:sp>
      <p:sp>
        <p:nvSpPr>
          <p:cNvPr id="4" name="Slide Number Placeholder 3"/>
          <p:cNvSpPr>
            <a:spLocks noGrp="1"/>
          </p:cNvSpPr>
          <p:nvPr>
            <p:ph type="sldNum" sz="quarter" idx="5"/>
          </p:nvPr>
        </p:nvSpPr>
        <p:spPr/>
        <p:txBody>
          <a:bodyPr/>
          <a:lstStyle/>
          <a:p>
            <a:fld id="{F7CD2611-A782-4A54-A17C-001C00578276}" type="slidenum">
              <a:rPr lang="en-GB" smtClean="0"/>
              <a:t>28</a:t>
            </a:fld>
            <a:endParaRPr lang="en-GB"/>
          </a:p>
        </p:txBody>
      </p:sp>
    </p:spTree>
    <p:extLst>
      <p:ext uri="{BB962C8B-B14F-4D97-AF65-F5344CB8AC3E}">
        <p14:creationId xmlns:p14="http://schemas.microsoft.com/office/powerpoint/2010/main" val="20201472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Edward would like to pull from Camille’s repository but does not have enough access rights to do so.</a:t>
            </a:r>
          </a:p>
          <a:p>
            <a:pPr marL="228600" indent="-228600">
              <a:buFont typeface="+mj-lt"/>
              <a:buAutoNum type="arabicPeriod"/>
            </a:pPr>
            <a:r>
              <a:rPr lang="en-US" dirty="0"/>
              <a:t>He cannot pull and is unable to create the local copy of Camille’s project.</a:t>
            </a:r>
          </a:p>
          <a:p>
            <a:pPr marL="228600" indent="-228600">
              <a:buFont typeface="+mj-lt"/>
              <a:buAutoNum type="arabicPeriod"/>
            </a:pPr>
            <a:r>
              <a:rPr lang="en-US" dirty="0"/>
              <a:t>Edward needs to create a remote copy of Camille’s repo, where he enjoys full control and from where he can pull stuff to his local computer.</a:t>
            </a:r>
          </a:p>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29</a:t>
            </a:fld>
            <a:endParaRPr lang="en-GB"/>
          </a:p>
        </p:txBody>
      </p:sp>
    </p:spTree>
    <p:extLst>
      <p:ext uri="{BB962C8B-B14F-4D97-AF65-F5344CB8AC3E}">
        <p14:creationId xmlns:p14="http://schemas.microsoft.com/office/powerpoint/2010/main" val="27569409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The first thing Edward needs to do to work on the project, is create a fork. The fork is a remote copy of Camille’s repo owned by Edward. </a:t>
            </a:r>
          </a:p>
          <a:p>
            <a:pPr marL="228600" indent="-228600">
              <a:buFont typeface="+mj-lt"/>
              <a:buAutoNum type="arabicPeriod"/>
            </a:pPr>
            <a:r>
              <a:rPr lang="en-US" dirty="0"/>
              <a:t>Edward pulls the repo to his local computer.</a:t>
            </a:r>
          </a:p>
          <a:p>
            <a:pPr marL="228600" indent="-228600">
              <a:buFont typeface="+mj-lt"/>
              <a:buAutoNum type="arabicPeriod"/>
            </a:pPr>
            <a:r>
              <a:rPr lang="en-US" dirty="0"/>
              <a:t>He can now continue working.</a:t>
            </a:r>
          </a:p>
          <a:p>
            <a:pPr marL="228600" indent="-228600">
              <a:buFont typeface="+mj-lt"/>
              <a:buAutoNum type="arabicPeriod"/>
            </a:pPr>
            <a:endParaRPr lang="en-US" dirty="0"/>
          </a:p>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30</a:t>
            </a:fld>
            <a:endParaRPr lang="en-GB"/>
          </a:p>
        </p:txBody>
      </p:sp>
    </p:spTree>
    <p:extLst>
      <p:ext uri="{BB962C8B-B14F-4D97-AF65-F5344CB8AC3E}">
        <p14:creationId xmlns:p14="http://schemas.microsoft.com/office/powerpoint/2010/main" val="20637832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Now Edward made changes on his local computer.</a:t>
            </a:r>
          </a:p>
          <a:p>
            <a:pPr marL="228600" indent="-228600">
              <a:buAutoNum type="arabicPeriod"/>
            </a:pPr>
            <a:r>
              <a:rPr lang="en-US" dirty="0"/>
              <a:t>He pushes the changes to his fork, which, as we remember, is a remote where Edward has full ownership over the project.</a:t>
            </a:r>
          </a:p>
          <a:p>
            <a:pPr marL="228600" indent="-228600">
              <a:buAutoNum type="arabicPeriod"/>
            </a:pPr>
            <a:r>
              <a:rPr lang="en-US" dirty="0"/>
              <a:t>For these changes to be reflected in the original, protected repo, he opens a pull request, asking the owner (Camille) to approve his changes.</a:t>
            </a:r>
          </a:p>
          <a:p>
            <a:pPr marL="228600" indent="-228600">
              <a:buAutoNum type="arabicPeriod"/>
            </a:pPr>
            <a:r>
              <a:rPr lang="en-US" dirty="0"/>
              <a:t>After Camille has reviewed and approved Edward’s changes they are merged into the repo.</a:t>
            </a:r>
          </a:p>
        </p:txBody>
      </p:sp>
      <p:sp>
        <p:nvSpPr>
          <p:cNvPr id="4" name="Slide Number Placeholder 3"/>
          <p:cNvSpPr>
            <a:spLocks noGrp="1"/>
          </p:cNvSpPr>
          <p:nvPr>
            <p:ph type="sldNum" sz="quarter" idx="5"/>
          </p:nvPr>
        </p:nvSpPr>
        <p:spPr/>
        <p:txBody>
          <a:bodyPr/>
          <a:lstStyle/>
          <a:p>
            <a:fld id="{F7CD2611-A782-4A54-A17C-001C00578276}" type="slidenum">
              <a:rPr lang="en-GB" smtClean="0"/>
              <a:t>31</a:t>
            </a:fld>
            <a:endParaRPr lang="en-GB"/>
          </a:p>
        </p:txBody>
      </p:sp>
    </p:spTree>
    <p:extLst>
      <p:ext uri="{BB962C8B-B14F-4D97-AF65-F5344CB8AC3E}">
        <p14:creationId xmlns:p14="http://schemas.microsoft.com/office/powerpoint/2010/main" val="7074972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summary, forks allow for controlled collaboration outside of a designated project team. Users can create a fork, which is a remote copy of the protected repo where they are the owners and can hence do what they want. To promote their changes to the original project, they open a pull request, or PR, and the project maintainers can then decide whether to approve the PR and merge the changes, or reject it.</a:t>
            </a:r>
          </a:p>
          <a:p>
            <a:endParaRPr lang="en-US" dirty="0"/>
          </a:p>
          <a:p>
            <a:r>
              <a:rPr lang="en-US" dirty="0"/>
              <a:t>This is a case you will likely encounter in the development areas of R packages. Write access is granted only to the designated team of core developers. If users want to collaborate, because they wrote code to fix a certain bug in the package, they would create a fork, add the code for the bug fix and open a PR. The package author would then review the code and either reject or approve it.</a:t>
            </a:r>
          </a:p>
          <a:p>
            <a:endParaRPr lang="en-US" dirty="0"/>
          </a:p>
          <a:p>
            <a:r>
              <a:rPr lang="en-US" dirty="0"/>
              <a:t>This concludes the theoretical section. We have learned how to read a network graph, are now familiar with the concepts of commits, branches, merging, push and pulls and know how to differentiate between our local repo and the remote. Finally, we learned about forks. We’ll now have a 20 minutes break.</a:t>
            </a:r>
          </a:p>
        </p:txBody>
      </p:sp>
      <p:sp>
        <p:nvSpPr>
          <p:cNvPr id="4" name="Slide Number Placeholder 3"/>
          <p:cNvSpPr>
            <a:spLocks noGrp="1"/>
          </p:cNvSpPr>
          <p:nvPr>
            <p:ph type="sldNum" sz="quarter" idx="5"/>
          </p:nvPr>
        </p:nvSpPr>
        <p:spPr/>
        <p:txBody>
          <a:bodyPr/>
          <a:lstStyle/>
          <a:p>
            <a:fld id="{F7CD2611-A782-4A54-A17C-001C00578276}" type="slidenum">
              <a:rPr lang="en-GB" smtClean="0"/>
              <a:t>32</a:t>
            </a:fld>
            <a:endParaRPr lang="en-GB"/>
          </a:p>
        </p:txBody>
      </p:sp>
    </p:spTree>
    <p:extLst>
      <p:ext uri="{BB962C8B-B14F-4D97-AF65-F5344CB8AC3E}">
        <p14:creationId xmlns:p14="http://schemas.microsoft.com/office/powerpoint/2010/main" val="4573248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33</a:t>
            </a:fld>
            <a:endParaRPr lang="en-GB"/>
          </a:p>
        </p:txBody>
      </p:sp>
    </p:spTree>
    <p:extLst>
      <p:ext uri="{BB962C8B-B14F-4D97-AF65-F5344CB8AC3E}">
        <p14:creationId xmlns:p14="http://schemas.microsoft.com/office/powerpoint/2010/main" val="1148164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4</a:t>
            </a:fld>
            <a:endParaRPr lang="en-GB"/>
          </a:p>
        </p:txBody>
      </p:sp>
    </p:spTree>
    <p:extLst>
      <p:ext uri="{BB962C8B-B14F-4D97-AF65-F5344CB8AC3E}">
        <p14:creationId xmlns:p14="http://schemas.microsoft.com/office/powerpoint/2010/main" val="4769677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34</a:t>
            </a:fld>
            <a:endParaRPr lang="en-GB"/>
          </a:p>
        </p:txBody>
      </p:sp>
    </p:spTree>
    <p:extLst>
      <p:ext uri="{BB962C8B-B14F-4D97-AF65-F5344CB8AC3E}">
        <p14:creationId xmlns:p14="http://schemas.microsoft.com/office/powerpoint/2010/main" val="2790132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7CD2611-A782-4A54-A17C-001C00578276}" type="slidenum">
              <a:rPr lang="en-GB" smtClean="0"/>
              <a:t>38</a:t>
            </a:fld>
            <a:endParaRPr lang="en-GB"/>
          </a:p>
        </p:txBody>
      </p:sp>
    </p:spTree>
    <p:extLst>
      <p:ext uri="{BB962C8B-B14F-4D97-AF65-F5344CB8AC3E}">
        <p14:creationId xmlns:p14="http://schemas.microsoft.com/office/powerpoint/2010/main" val="16507285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7CD2611-A782-4A54-A17C-001C00578276}" type="slidenum">
              <a:rPr lang="en-GB" smtClean="0"/>
              <a:t>39</a:t>
            </a:fld>
            <a:endParaRPr lang="en-GB"/>
          </a:p>
        </p:txBody>
      </p:sp>
    </p:spTree>
    <p:extLst>
      <p:ext uri="{BB962C8B-B14F-4D97-AF65-F5344CB8AC3E}">
        <p14:creationId xmlns:p14="http://schemas.microsoft.com/office/powerpoint/2010/main" val="26241756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7CD2611-A782-4A54-A17C-001C00578276}" type="slidenum">
              <a:rPr lang="en-GB" smtClean="0"/>
              <a:t>40</a:t>
            </a:fld>
            <a:endParaRPr lang="en-GB"/>
          </a:p>
        </p:txBody>
      </p:sp>
    </p:spTree>
    <p:extLst>
      <p:ext uri="{BB962C8B-B14F-4D97-AF65-F5344CB8AC3E}">
        <p14:creationId xmlns:p14="http://schemas.microsoft.com/office/powerpoint/2010/main" val="40740533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7CD2611-A782-4A54-A17C-001C00578276}" type="slidenum">
              <a:rPr lang="en-GB" smtClean="0"/>
              <a:t>41</a:t>
            </a:fld>
            <a:endParaRPr lang="en-GB"/>
          </a:p>
        </p:txBody>
      </p:sp>
    </p:spTree>
    <p:extLst>
      <p:ext uri="{BB962C8B-B14F-4D97-AF65-F5344CB8AC3E}">
        <p14:creationId xmlns:p14="http://schemas.microsoft.com/office/powerpoint/2010/main" val="21110282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7CD2611-A782-4A54-A17C-001C00578276}" type="slidenum">
              <a:rPr lang="en-GB" smtClean="0"/>
              <a:t>42</a:t>
            </a:fld>
            <a:endParaRPr lang="en-GB"/>
          </a:p>
        </p:txBody>
      </p:sp>
    </p:spTree>
    <p:extLst>
      <p:ext uri="{BB962C8B-B14F-4D97-AF65-F5344CB8AC3E}">
        <p14:creationId xmlns:p14="http://schemas.microsoft.com/office/powerpoint/2010/main" val="8376889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7CD2611-A782-4A54-A17C-001C00578276}" type="slidenum">
              <a:rPr lang="en-GB" smtClean="0"/>
              <a:t>43</a:t>
            </a:fld>
            <a:endParaRPr lang="en-GB"/>
          </a:p>
        </p:txBody>
      </p:sp>
    </p:spTree>
    <p:extLst>
      <p:ext uri="{BB962C8B-B14F-4D97-AF65-F5344CB8AC3E}">
        <p14:creationId xmlns:p14="http://schemas.microsoft.com/office/powerpoint/2010/main" val="8242624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7CD2611-A782-4A54-A17C-001C00578276}" type="slidenum">
              <a:rPr lang="en-GB" smtClean="0"/>
              <a:t>44</a:t>
            </a:fld>
            <a:endParaRPr lang="en-GB"/>
          </a:p>
        </p:txBody>
      </p:sp>
    </p:spTree>
    <p:extLst>
      <p:ext uri="{BB962C8B-B14F-4D97-AF65-F5344CB8AC3E}">
        <p14:creationId xmlns:p14="http://schemas.microsoft.com/office/powerpoint/2010/main" val="15652323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7CD2611-A782-4A54-A17C-001C00578276}" type="slidenum">
              <a:rPr lang="en-GB" smtClean="0"/>
              <a:t>45</a:t>
            </a:fld>
            <a:endParaRPr lang="en-GB"/>
          </a:p>
        </p:txBody>
      </p:sp>
    </p:spTree>
    <p:extLst>
      <p:ext uri="{BB962C8B-B14F-4D97-AF65-F5344CB8AC3E}">
        <p14:creationId xmlns:p14="http://schemas.microsoft.com/office/powerpoint/2010/main" val="13046545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46</a:t>
            </a:fld>
            <a:endParaRPr lang="en-GB"/>
          </a:p>
        </p:txBody>
      </p:sp>
    </p:spTree>
    <p:extLst>
      <p:ext uri="{BB962C8B-B14F-4D97-AF65-F5344CB8AC3E}">
        <p14:creationId xmlns:p14="http://schemas.microsoft.com/office/powerpoint/2010/main" val="3212040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pository: Group of code to track together, it can be as big or as small as you want. If you are using RStudio projects, then typically one project has one git repo. </a:t>
            </a:r>
          </a:p>
          <a:p>
            <a:r>
              <a:rPr lang="en-US" dirty="0"/>
              <a:t>Commits similar to checking out and checking your code back in with </a:t>
            </a:r>
            <a:r>
              <a:rPr lang="en-US" sz="1200" dirty="0">
                <a:solidFill>
                  <a:srgbClr val="111111"/>
                </a:solidFill>
                <a:latin typeface="-apple-system"/>
              </a:rPr>
              <a:t>Trial Master Files VCS system. Each commit is often presented as a dot, with multiple commits connected by a line. But there are two important differences</a:t>
            </a:r>
          </a:p>
          <a:p>
            <a:pPr marL="228600" indent="-228600">
              <a:buFont typeface="+mj-lt"/>
              <a:buAutoNum type="arabicPeriod"/>
            </a:pPr>
            <a:r>
              <a:rPr lang="en-US" sz="1200" dirty="0">
                <a:solidFill>
                  <a:srgbClr val="111111"/>
                </a:solidFill>
                <a:latin typeface="-apple-system"/>
              </a:rPr>
              <a:t>commits only track changes</a:t>
            </a:r>
          </a:p>
          <a:p>
            <a:pPr marL="228600" indent="-228600">
              <a:buFont typeface="+mj-lt"/>
              <a:buAutoNum type="arabicPeriod"/>
            </a:pPr>
            <a:r>
              <a:rPr lang="en-US" sz="1200" dirty="0">
                <a:solidFill>
                  <a:srgbClr val="111111"/>
                </a:solidFill>
                <a:latin typeface="-apple-system"/>
              </a:rPr>
              <a:t>Commits can have changes to multiple files </a:t>
            </a:r>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6</a:t>
            </a:fld>
            <a:endParaRPr lang="en-GB"/>
          </a:p>
        </p:txBody>
      </p:sp>
    </p:spTree>
    <p:extLst>
      <p:ext uri="{BB962C8B-B14F-4D97-AF65-F5344CB8AC3E}">
        <p14:creationId xmlns:p14="http://schemas.microsoft.com/office/powerpoint/2010/main" val="32120403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47</a:t>
            </a:fld>
            <a:endParaRPr lang="en-GB"/>
          </a:p>
        </p:txBody>
      </p:sp>
    </p:spTree>
    <p:extLst>
      <p:ext uri="{BB962C8B-B14F-4D97-AF65-F5344CB8AC3E}">
        <p14:creationId xmlns:p14="http://schemas.microsoft.com/office/powerpoint/2010/main" val="13886070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7CD2611-A782-4A54-A17C-001C00578276}" type="slidenum">
              <a:rPr lang="en-GB" smtClean="0"/>
              <a:t>50</a:t>
            </a:fld>
            <a:endParaRPr lang="en-GB"/>
          </a:p>
        </p:txBody>
      </p:sp>
    </p:spTree>
    <p:extLst>
      <p:ext uri="{BB962C8B-B14F-4D97-AF65-F5344CB8AC3E}">
        <p14:creationId xmlns:p14="http://schemas.microsoft.com/office/powerpoint/2010/main" val="39459091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7CD2611-A782-4A54-A17C-001C00578276}" type="slidenum">
              <a:rPr lang="en-GB" smtClean="0"/>
              <a:t>51</a:t>
            </a:fld>
            <a:endParaRPr lang="en-GB"/>
          </a:p>
        </p:txBody>
      </p:sp>
    </p:spTree>
    <p:extLst>
      <p:ext uri="{BB962C8B-B14F-4D97-AF65-F5344CB8AC3E}">
        <p14:creationId xmlns:p14="http://schemas.microsoft.com/office/powerpoint/2010/main" val="26937781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CD2611-A782-4A54-A17C-001C00578276}" type="slidenum">
              <a:rPr lang="en-GB" smtClean="0"/>
              <a:t>53</a:t>
            </a:fld>
            <a:endParaRPr lang="en-GB"/>
          </a:p>
        </p:txBody>
      </p:sp>
    </p:spTree>
    <p:extLst>
      <p:ext uri="{BB962C8B-B14F-4D97-AF65-F5344CB8AC3E}">
        <p14:creationId xmlns:p14="http://schemas.microsoft.com/office/powerpoint/2010/main" val="29123242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11111"/>
                </a:solidFill>
                <a:effectLst/>
                <a:latin typeface="-apple-system"/>
              </a:rPr>
              <a:t>On Monday she comes back to find an email from journal A.  They would like her to re-run the analysis but this time including Variable A in the model.</a:t>
            </a:r>
          </a:p>
          <a:p>
            <a:endParaRPr lang="en-US" b="0" i="0" dirty="0">
              <a:solidFill>
                <a:srgbClr val="111111"/>
              </a:solidFill>
              <a:effectLst/>
              <a:latin typeface="-apple-system"/>
            </a:endParaRPr>
          </a:p>
        </p:txBody>
      </p:sp>
      <p:sp>
        <p:nvSpPr>
          <p:cNvPr id="4" name="Slide Number Placeholder 3"/>
          <p:cNvSpPr>
            <a:spLocks noGrp="1"/>
          </p:cNvSpPr>
          <p:nvPr>
            <p:ph type="sldNum" sz="quarter" idx="5"/>
          </p:nvPr>
        </p:nvSpPr>
        <p:spPr/>
        <p:txBody>
          <a:bodyPr/>
          <a:lstStyle/>
          <a:p>
            <a:fld id="{F7CD2611-A782-4A54-A17C-001C00578276}" type="slidenum">
              <a:rPr lang="en-GB" smtClean="0"/>
              <a:t>56</a:t>
            </a:fld>
            <a:endParaRPr lang="en-GB"/>
          </a:p>
        </p:txBody>
      </p:sp>
    </p:spTree>
    <p:extLst>
      <p:ext uri="{BB962C8B-B14F-4D97-AF65-F5344CB8AC3E}">
        <p14:creationId xmlns:p14="http://schemas.microsoft.com/office/powerpoint/2010/main" val="37690147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 </a:t>
            </a:r>
            <a:r>
              <a:rPr lang="en-US" b="0" i="0" dirty="0">
                <a:solidFill>
                  <a:srgbClr val="111111"/>
                </a:solidFill>
                <a:effectLst/>
                <a:latin typeface="-apple-system"/>
              </a:rPr>
              <a:t>Camille, she has her coffee, and laptop ready for a week of programming analysis for a publications. </a:t>
            </a:r>
          </a:p>
          <a:p>
            <a:r>
              <a:rPr lang="en-US" b="0" i="0" dirty="0">
                <a:solidFill>
                  <a:srgbClr val="111111"/>
                </a:solidFill>
                <a:effectLst/>
                <a:latin typeface="-apple-system"/>
              </a:rPr>
              <a:t>On Day 1 she does some great analyses and writes the results up.</a:t>
            </a:r>
          </a:p>
          <a:p>
            <a:r>
              <a:rPr lang="en-US" b="0" i="0" dirty="0">
                <a:solidFill>
                  <a:srgbClr val="111111"/>
                </a:solidFill>
                <a:effectLst/>
                <a:latin typeface="-apple-system"/>
              </a:rPr>
              <a:t>On Day 2 she submits this to a journal  - hopeful of getting published,.</a:t>
            </a:r>
          </a:p>
          <a:p>
            <a:r>
              <a:rPr lang="en-US" b="0" i="0" dirty="0">
                <a:solidFill>
                  <a:srgbClr val="111111"/>
                </a:solidFill>
                <a:effectLst/>
                <a:latin typeface="-apple-system"/>
              </a:rPr>
              <a:t>On Day 3 she explores more analysis, adding new variables to her dataset and putting them into her model to see if it finds anything else interesting</a:t>
            </a:r>
          </a:p>
          <a:p>
            <a:r>
              <a:rPr lang="en-US" b="0" i="0" dirty="0">
                <a:solidFill>
                  <a:srgbClr val="111111"/>
                </a:solidFill>
                <a:effectLst/>
                <a:latin typeface="-apple-system"/>
              </a:rPr>
              <a:t>On Day 4 She modifies the graphs a bit more </a:t>
            </a:r>
          </a:p>
          <a:p>
            <a:r>
              <a:rPr lang="en-US" b="0" i="0" dirty="0">
                <a:solidFill>
                  <a:srgbClr val="111111"/>
                </a:solidFill>
                <a:effectLst/>
                <a:latin typeface="-apple-system"/>
              </a:rPr>
              <a:t>On Day 5, she does more analysis, graphs and tables and writes this up to submit to journal B</a:t>
            </a:r>
          </a:p>
          <a:p>
            <a:endParaRPr lang="en-US" b="0" i="0" dirty="0">
              <a:solidFill>
                <a:srgbClr val="111111"/>
              </a:solidFill>
              <a:effectLst/>
              <a:latin typeface="-apple-system"/>
            </a:endParaRPr>
          </a:p>
          <a:p>
            <a:r>
              <a:rPr lang="en-US" b="0" i="0" dirty="0">
                <a:solidFill>
                  <a:srgbClr val="111111"/>
                </a:solidFill>
                <a:effectLst/>
                <a:latin typeface="-apple-system"/>
              </a:rPr>
              <a:t>She’s thrilled with the great week she’s had, shuts down her lap top and heads off to enjoy her weekend.</a:t>
            </a:r>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7</a:t>
            </a:fld>
            <a:endParaRPr lang="en-GB"/>
          </a:p>
        </p:txBody>
      </p:sp>
    </p:spTree>
    <p:extLst>
      <p:ext uri="{BB962C8B-B14F-4D97-AF65-F5344CB8AC3E}">
        <p14:creationId xmlns:p14="http://schemas.microsoft.com/office/powerpoint/2010/main" val="13886070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11111"/>
                </a:solidFill>
                <a:effectLst/>
                <a:latin typeface="-apple-system"/>
              </a:rPr>
              <a:t>On Monday she comes back to find an email from journal A.  They would like her to re-run the analysis but this time including Variable A in the model.</a:t>
            </a:r>
          </a:p>
          <a:p>
            <a:endParaRPr lang="en-US" b="0" i="0" dirty="0">
              <a:solidFill>
                <a:srgbClr val="111111"/>
              </a:solidFill>
              <a:effectLst/>
              <a:latin typeface="-apple-system"/>
            </a:endParaRPr>
          </a:p>
        </p:txBody>
      </p:sp>
      <p:sp>
        <p:nvSpPr>
          <p:cNvPr id="4" name="Slide Number Placeholder 3"/>
          <p:cNvSpPr>
            <a:spLocks noGrp="1"/>
          </p:cNvSpPr>
          <p:nvPr>
            <p:ph type="sldNum" sz="quarter" idx="5"/>
          </p:nvPr>
        </p:nvSpPr>
        <p:spPr/>
        <p:txBody>
          <a:bodyPr/>
          <a:lstStyle/>
          <a:p>
            <a:fld id="{F7CD2611-A782-4A54-A17C-001C00578276}" type="slidenum">
              <a:rPr lang="en-GB" smtClean="0"/>
              <a:t>8</a:t>
            </a:fld>
            <a:endParaRPr lang="en-GB"/>
          </a:p>
        </p:txBody>
      </p:sp>
    </p:spTree>
    <p:extLst>
      <p:ext uri="{BB962C8B-B14F-4D97-AF65-F5344CB8AC3E}">
        <p14:creationId xmlns:p14="http://schemas.microsoft.com/office/powerpoint/2010/main" val="23294096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ise your hand when you are done </a:t>
            </a:r>
          </a:p>
        </p:txBody>
      </p:sp>
      <p:sp>
        <p:nvSpPr>
          <p:cNvPr id="4" name="Slide Number Placeholder 3"/>
          <p:cNvSpPr>
            <a:spLocks noGrp="1"/>
          </p:cNvSpPr>
          <p:nvPr>
            <p:ph type="sldNum" sz="quarter" idx="5"/>
          </p:nvPr>
        </p:nvSpPr>
        <p:spPr/>
        <p:txBody>
          <a:bodyPr/>
          <a:lstStyle/>
          <a:p>
            <a:fld id="{F7CD2611-A782-4A54-A17C-001C00578276}" type="slidenum">
              <a:rPr lang="en-GB" smtClean="0"/>
              <a:t>9</a:t>
            </a:fld>
            <a:endParaRPr lang="en-GB"/>
          </a:p>
        </p:txBody>
      </p:sp>
    </p:spTree>
    <p:extLst>
      <p:ext uri="{BB962C8B-B14F-4D97-AF65-F5344CB8AC3E}">
        <p14:creationId xmlns:p14="http://schemas.microsoft.com/office/powerpoint/2010/main" val="20810791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checking out different commits </a:t>
            </a:r>
          </a:p>
          <a:p>
            <a:r>
              <a:rPr lang="en-US" dirty="0"/>
              <a:t>Also mention that bad commit messages makes it hard to find things </a:t>
            </a:r>
          </a:p>
          <a:p>
            <a:r>
              <a:rPr lang="en-US" dirty="0"/>
              <a:t>The commit that is being actively check-out is called the HEAD </a:t>
            </a:r>
          </a:p>
        </p:txBody>
      </p:sp>
      <p:sp>
        <p:nvSpPr>
          <p:cNvPr id="4" name="Slide Number Placeholder 3"/>
          <p:cNvSpPr>
            <a:spLocks noGrp="1"/>
          </p:cNvSpPr>
          <p:nvPr>
            <p:ph type="sldNum" sz="quarter" idx="5"/>
          </p:nvPr>
        </p:nvSpPr>
        <p:spPr/>
        <p:txBody>
          <a:bodyPr/>
          <a:lstStyle/>
          <a:p>
            <a:fld id="{F7CD2611-A782-4A54-A17C-001C00578276}" type="slidenum">
              <a:rPr lang="en-GB" smtClean="0"/>
              <a:t>10</a:t>
            </a:fld>
            <a:endParaRPr lang="en-GB"/>
          </a:p>
        </p:txBody>
      </p:sp>
    </p:spTree>
    <p:extLst>
      <p:ext uri="{BB962C8B-B14F-4D97-AF65-F5344CB8AC3E}">
        <p14:creationId xmlns:p14="http://schemas.microsoft.com/office/powerpoint/2010/main" val="39321330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CD2611-A782-4A54-A17C-001C00578276}" type="slidenum">
              <a:rPr lang="en-GB" smtClean="0"/>
              <a:t>11</a:t>
            </a:fld>
            <a:endParaRPr lang="en-GB"/>
          </a:p>
        </p:txBody>
      </p:sp>
    </p:spTree>
    <p:extLst>
      <p:ext uri="{BB962C8B-B14F-4D97-AF65-F5344CB8AC3E}">
        <p14:creationId xmlns:p14="http://schemas.microsoft.com/office/powerpoint/2010/main" val="37807587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7B5BE83-7E46-4417-9FBF-2B463AB43312}" type="datetimeFigureOut">
              <a:rPr lang="en-GB" smtClean="0"/>
              <a:t>18/10/2023</a:t>
            </a:fld>
            <a:endParaRPr lang="en-GB"/>
          </a:p>
        </p:txBody>
      </p:sp>
      <p:sp>
        <p:nvSpPr>
          <p:cNvPr id="5" name="Footer Placeholder 4"/>
          <p:cNvSpPr>
            <a:spLocks noGrp="1"/>
          </p:cNvSpPr>
          <p:nvPr>
            <p:ph type="ftr" sz="quarter" idx="11"/>
          </p:nvPr>
        </p:nvSpPr>
        <p:spPr/>
        <p:txBody>
          <a:bodyPr/>
          <a:lstStyle/>
          <a:p>
            <a:r>
              <a:rPr lang="en-GB" dirty="0"/>
              <a:t>Page </a:t>
            </a:r>
            <a:fld id="{60C7F7E8-D2BC-42E4-9CB2-205913BD4040}" type="slidenum">
              <a:rPr lang="en-GB" smtClean="0"/>
              <a:pPr/>
              <a:t>‹#›</a:t>
            </a:fld>
            <a:endParaRPr lang="en-GB" dirty="0"/>
          </a:p>
        </p:txBody>
      </p:sp>
      <p:sp>
        <p:nvSpPr>
          <p:cNvPr id="6" name="Slide Number Placeholder 5"/>
          <p:cNvSpPr>
            <a:spLocks noGrp="1"/>
          </p:cNvSpPr>
          <p:nvPr>
            <p:ph type="sldNum" sz="quarter" idx="12"/>
          </p:nvPr>
        </p:nvSpPr>
        <p:spPr/>
        <p:txBody>
          <a:bodyPr/>
          <a:lstStyle/>
          <a:p>
            <a:fld id="{79A4D766-0AD6-4838-8C68-C0E62E561E79}" type="slidenum">
              <a:rPr lang="en-GB" smtClean="0"/>
              <a:t>‹#›</a:t>
            </a:fld>
            <a:endParaRPr lang="en-GB"/>
          </a:p>
        </p:txBody>
      </p:sp>
    </p:spTree>
    <p:extLst>
      <p:ext uri="{BB962C8B-B14F-4D97-AF65-F5344CB8AC3E}">
        <p14:creationId xmlns:p14="http://schemas.microsoft.com/office/powerpoint/2010/main" val="18254848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B5BE83-7E46-4417-9FBF-2B463AB43312}" type="datetimeFigureOut">
              <a:rPr lang="en-GB" smtClean="0"/>
              <a:t>18/10/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9A4D766-0AD6-4838-8C68-C0E62E561E79}" type="slidenum">
              <a:rPr lang="en-GB" smtClean="0"/>
              <a:t>‹#›</a:t>
            </a:fld>
            <a:endParaRPr lang="en-GB"/>
          </a:p>
        </p:txBody>
      </p:sp>
    </p:spTree>
    <p:extLst>
      <p:ext uri="{BB962C8B-B14F-4D97-AF65-F5344CB8AC3E}">
        <p14:creationId xmlns:p14="http://schemas.microsoft.com/office/powerpoint/2010/main" val="14480118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B5BE83-7E46-4417-9FBF-2B463AB43312}" type="datetimeFigureOut">
              <a:rPr lang="en-GB" smtClean="0"/>
              <a:t>18/10/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9A4D766-0AD6-4838-8C68-C0E62E561E79}" type="slidenum">
              <a:rPr lang="en-GB" smtClean="0"/>
              <a:t>‹#›</a:t>
            </a:fld>
            <a:endParaRPr lang="en-GB"/>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348305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B5BE83-7E46-4417-9FBF-2B463AB43312}" type="datetimeFigureOut">
              <a:rPr lang="en-GB" smtClean="0"/>
              <a:t>18/10/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9A4D766-0AD6-4838-8C68-C0E62E561E79}" type="slidenum">
              <a:rPr lang="en-GB" smtClean="0"/>
              <a:t>‹#›</a:t>
            </a:fld>
            <a:endParaRPr lang="en-GB"/>
          </a:p>
        </p:txBody>
      </p:sp>
    </p:spTree>
    <p:extLst>
      <p:ext uri="{BB962C8B-B14F-4D97-AF65-F5344CB8AC3E}">
        <p14:creationId xmlns:p14="http://schemas.microsoft.com/office/powerpoint/2010/main" val="3302159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B5BE83-7E46-4417-9FBF-2B463AB43312}" type="datetimeFigureOut">
              <a:rPr lang="en-GB" smtClean="0"/>
              <a:t>18/10/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9A4D766-0AD6-4838-8C68-C0E62E561E79}" type="slidenum">
              <a:rPr lang="en-GB" smtClean="0"/>
              <a:t>‹#›</a:t>
            </a:fld>
            <a:endParaRPr lang="en-GB"/>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3720839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B5BE83-7E46-4417-9FBF-2B463AB43312}" type="datetimeFigureOut">
              <a:rPr lang="en-GB" smtClean="0"/>
              <a:t>18/10/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9A4D766-0AD6-4838-8C68-C0E62E561E79}" type="slidenum">
              <a:rPr lang="en-GB" smtClean="0"/>
              <a:t>‹#›</a:t>
            </a:fld>
            <a:endParaRPr lang="en-GB"/>
          </a:p>
        </p:txBody>
      </p:sp>
    </p:spTree>
    <p:extLst>
      <p:ext uri="{BB962C8B-B14F-4D97-AF65-F5344CB8AC3E}">
        <p14:creationId xmlns:p14="http://schemas.microsoft.com/office/powerpoint/2010/main" val="35073985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7B5BE83-7E46-4417-9FBF-2B463AB43312}" type="datetimeFigureOut">
              <a:rPr lang="en-GB" smtClean="0"/>
              <a:t>18/10/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9A4D766-0AD6-4838-8C68-C0E62E561E79}" type="slidenum">
              <a:rPr lang="en-GB" smtClean="0"/>
              <a:t>‹#›</a:t>
            </a:fld>
            <a:endParaRPr lang="en-GB"/>
          </a:p>
        </p:txBody>
      </p:sp>
    </p:spTree>
    <p:extLst>
      <p:ext uri="{BB962C8B-B14F-4D97-AF65-F5344CB8AC3E}">
        <p14:creationId xmlns:p14="http://schemas.microsoft.com/office/powerpoint/2010/main" val="13401076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7B5BE83-7E46-4417-9FBF-2B463AB43312}" type="datetimeFigureOut">
              <a:rPr lang="en-GB" smtClean="0"/>
              <a:t>18/10/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9A4D766-0AD6-4838-8C68-C0E62E561E79}" type="slidenum">
              <a:rPr lang="en-GB" smtClean="0"/>
              <a:t>‹#›</a:t>
            </a:fld>
            <a:endParaRPr lang="en-GB"/>
          </a:p>
        </p:txBody>
      </p:sp>
    </p:spTree>
    <p:extLst>
      <p:ext uri="{BB962C8B-B14F-4D97-AF65-F5344CB8AC3E}">
        <p14:creationId xmlns:p14="http://schemas.microsoft.com/office/powerpoint/2010/main" val="3250382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342900" indent="-342900">
              <a:buSzPct val="100000"/>
              <a:buFont typeface="Arial" panose="020B0604020202020204" pitchFamily="34" charset="0"/>
              <a:buChar char="•"/>
              <a:defRPr/>
            </a:lvl1pPr>
            <a:lvl2pPr marL="742950" indent="-285750">
              <a:buSzPct val="100000"/>
              <a:buFont typeface="Arial" panose="020B0604020202020204" pitchFamily="34" charset="0"/>
              <a:buChar char="•"/>
              <a:defRPr/>
            </a:lvl2pPr>
            <a:lvl3pPr marL="1143000" indent="-228600">
              <a:buSzPct val="100000"/>
              <a:buFont typeface="Arial" panose="020B0604020202020204" pitchFamily="34" charset="0"/>
              <a:buChar char="•"/>
              <a:defRPr/>
            </a:lvl3pPr>
            <a:lvl4pPr marL="1600200" indent="-228600">
              <a:buSzPct val="100000"/>
              <a:buFont typeface="Arial" panose="020B0604020202020204" pitchFamily="34" charset="0"/>
              <a:buChar char="•"/>
              <a:defRPr/>
            </a:lvl4pPr>
            <a:lvl5pPr marL="2057400" indent="-228600">
              <a:buSzPct val="100000"/>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7B5BE83-7E46-4417-9FBF-2B463AB43312}" type="datetimeFigureOut">
              <a:rPr lang="en-GB" smtClean="0"/>
              <a:t>18/10/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9A4D766-0AD6-4838-8C68-C0E62E561E79}" type="slidenum">
              <a:rPr lang="en-GB" smtClean="0"/>
              <a:t>‹#›</a:t>
            </a:fld>
            <a:endParaRPr lang="en-GB" dirty="0"/>
          </a:p>
        </p:txBody>
      </p:sp>
    </p:spTree>
    <p:extLst>
      <p:ext uri="{BB962C8B-B14F-4D97-AF65-F5344CB8AC3E}">
        <p14:creationId xmlns:p14="http://schemas.microsoft.com/office/powerpoint/2010/main" val="21962042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B5BE83-7E46-4417-9FBF-2B463AB43312}" type="datetimeFigureOut">
              <a:rPr lang="en-GB" smtClean="0"/>
              <a:t>18/10/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9A4D766-0AD6-4838-8C68-C0E62E561E79}" type="slidenum">
              <a:rPr lang="en-GB" smtClean="0"/>
              <a:t>‹#›</a:t>
            </a:fld>
            <a:endParaRPr lang="en-GB"/>
          </a:p>
        </p:txBody>
      </p:sp>
    </p:spTree>
    <p:extLst>
      <p:ext uri="{BB962C8B-B14F-4D97-AF65-F5344CB8AC3E}">
        <p14:creationId xmlns:p14="http://schemas.microsoft.com/office/powerpoint/2010/main" val="25315234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lvl1pPr marL="342900" indent="-342900">
              <a:buSzPct val="100000"/>
              <a:buFont typeface="Arial" panose="020B0604020202020204" pitchFamily="34" charset="0"/>
              <a:buChar char="•"/>
              <a:defRPr/>
            </a:lvl1pPr>
            <a:lvl2pPr marL="742950" indent="-285750">
              <a:buSzPct val="100000"/>
              <a:buFont typeface="Arial" panose="020B0604020202020204" pitchFamily="34" charset="0"/>
              <a:buChar char="•"/>
              <a:defRPr/>
            </a:lvl2pPr>
            <a:lvl3pPr marL="1143000" indent="-228600">
              <a:buSzPct val="100000"/>
              <a:buFont typeface="Arial" panose="020B0604020202020204" pitchFamily="34" charset="0"/>
              <a:buChar char="•"/>
              <a:defRPr/>
            </a:lvl3pPr>
            <a:lvl4pPr marL="1600200" indent="-228600">
              <a:buSzPct val="100000"/>
              <a:buFont typeface="Arial" panose="020B0604020202020204" pitchFamily="34" charset="0"/>
              <a:buChar char="•"/>
              <a:defRPr/>
            </a:lvl4pPr>
            <a:lvl5pPr marL="2057400" indent="-228600">
              <a:buSzPct val="100000"/>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089970" y="2160589"/>
            <a:ext cx="4184034" cy="3880773"/>
          </a:xfrm>
        </p:spPr>
        <p:txBody>
          <a:bodyPr/>
          <a:lstStyle>
            <a:lvl1pPr marL="342900" indent="-342900">
              <a:buSzPct val="100000"/>
              <a:buFont typeface="Arial" panose="020B0604020202020204" pitchFamily="34" charset="0"/>
              <a:buChar char="•"/>
              <a:defRPr/>
            </a:lvl1pPr>
            <a:lvl2pPr marL="742950" indent="-285750">
              <a:buSzPct val="100000"/>
              <a:buFont typeface="Arial" panose="020B0604020202020204" pitchFamily="34" charset="0"/>
              <a:buChar char="•"/>
              <a:defRPr/>
            </a:lvl2pPr>
            <a:lvl3pPr marL="1143000" indent="-228600">
              <a:buSzPct val="100000"/>
              <a:buFont typeface="Arial" panose="020B0604020202020204" pitchFamily="34" charset="0"/>
              <a:buChar char="•"/>
              <a:defRPr/>
            </a:lvl3pPr>
            <a:lvl4pPr marL="1600200" indent="-228600">
              <a:buSzPct val="100000"/>
              <a:buFont typeface="Arial" panose="020B0604020202020204" pitchFamily="34" charset="0"/>
              <a:buChar char="•"/>
              <a:defRPr/>
            </a:lvl4pPr>
            <a:lvl5pPr marL="2057400" indent="-228600">
              <a:buSzPct val="100000"/>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07B5BE83-7E46-4417-9FBF-2B463AB43312}" type="datetimeFigureOut">
              <a:rPr lang="en-GB" smtClean="0"/>
              <a:t>18/10/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9A4D766-0AD6-4838-8C68-C0E62E561E79}" type="slidenum">
              <a:rPr lang="en-GB" smtClean="0"/>
              <a:t>‹#›</a:t>
            </a:fld>
            <a:endParaRPr lang="en-GB"/>
          </a:p>
        </p:txBody>
      </p:sp>
    </p:spTree>
    <p:extLst>
      <p:ext uri="{BB962C8B-B14F-4D97-AF65-F5344CB8AC3E}">
        <p14:creationId xmlns:p14="http://schemas.microsoft.com/office/powerpoint/2010/main" val="2966522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lvl1pPr marL="342900" indent="-342900" algn="l" defTabSz="457200" rtl="0" eaLnBrk="1" latinLnBrk="0" hangingPunct="1">
              <a:spcBef>
                <a:spcPts val="1000"/>
              </a:spcBef>
              <a:spcAft>
                <a:spcPts val="0"/>
              </a:spcAft>
              <a:buClr>
                <a:schemeClr val="accent1"/>
              </a:buClr>
              <a:buSzPct val="100000"/>
              <a:buFont typeface="Arial" panose="020B0604020202020204" pitchFamily="34" charset="0"/>
              <a:buChar char="•"/>
              <a:defRPr lang="en-US" sz="1600" kern="1200" dirty="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100000"/>
              <a:buFont typeface="Arial" panose="020B0604020202020204" pitchFamily="34" charset="0"/>
              <a:buChar char="•"/>
              <a:defRPr lang="en-US" sz="1600" kern="1200" dirty="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100000"/>
              <a:buFont typeface="Arial" panose="020B0604020202020204" pitchFamily="34" charset="0"/>
              <a:buChar char="•"/>
              <a:defRPr lang="en-US" sz="1600" kern="1200" dirty="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100000"/>
              <a:buFont typeface="Arial" panose="020B0604020202020204" pitchFamily="34" charset="0"/>
              <a:buChar char="•"/>
              <a:defRPr lang="en-US" sz="1600" kern="1200" dirty="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100000"/>
              <a:buFont typeface="Arial" panose="020B0604020202020204" pitchFamily="34" charset="0"/>
              <a:buChar char="•"/>
              <a:defRPr lang="en-US" sz="1600" kern="1200" dirty="0">
                <a:solidFill>
                  <a:schemeClr val="tx1">
                    <a:lumMod val="75000"/>
                    <a:lumOff val="25000"/>
                  </a:schemeClr>
                </a:solidFill>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lvl1pPr>
              <a:defRPr lang="en-US" sz="1600" kern="1200" dirty="0">
                <a:solidFill>
                  <a:schemeClr val="tx1">
                    <a:lumMod val="75000"/>
                    <a:lumOff val="25000"/>
                  </a:schemeClr>
                </a:solidFill>
                <a:latin typeface="+mn-lt"/>
                <a:ea typeface="+mn-ea"/>
                <a:cs typeface="+mn-cs"/>
              </a:defRPr>
            </a:lvl1pPr>
            <a:lvl2pPr>
              <a:defRPr lang="en-US" sz="1600" kern="1200" dirty="0">
                <a:solidFill>
                  <a:schemeClr val="tx1">
                    <a:lumMod val="75000"/>
                    <a:lumOff val="25000"/>
                  </a:schemeClr>
                </a:solidFill>
                <a:latin typeface="+mn-lt"/>
                <a:ea typeface="+mn-ea"/>
                <a:cs typeface="+mn-cs"/>
              </a:defRPr>
            </a:lvl2pPr>
            <a:lvl3pPr>
              <a:defRPr lang="en-US" sz="1600" kern="1200" dirty="0">
                <a:solidFill>
                  <a:schemeClr val="tx1">
                    <a:lumMod val="75000"/>
                    <a:lumOff val="25000"/>
                  </a:schemeClr>
                </a:solidFill>
                <a:latin typeface="+mn-lt"/>
                <a:ea typeface="+mn-ea"/>
                <a:cs typeface="+mn-cs"/>
              </a:defRPr>
            </a:lvl3pPr>
            <a:lvl4pPr>
              <a:defRPr lang="en-US" sz="1600" kern="1200" dirty="0">
                <a:solidFill>
                  <a:schemeClr val="tx1">
                    <a:lumMod val="75000"/>
                    <a:lumOff val="25000"/>
                  </a:schemeClr>
                </a:solidFill>
                <a:latin typeface="+mn-lt"/>
                <a:ea typeface="+mn-ea"/>
                <a:cs typeface="+mn-cs"/>
              </a:defRPr>
            </a:lvl4pPr>
            <a:lvl5pPr>
              <a:defRPr lang="en-US" sz="1600" kern="1200" dirty="0">
                <a:solidFill>
                  <a:schemeClr val="tx1">
                    <a:lumMod val="75000"/>
                    <a:lumOff val="25000"/>
                  </a:schemeClr>
                </a:solidFill>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07B5BE83-7E46-4417-9FBF-2B463AB43312}" type="datetimeFigureOut">
              <a:rPr lang="en-GB" smtClean="0"/>
              <a:t>18/10/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79A4D766-0AD6-4838-8C68-C0E62E561E79}" type="slidenum">
              <a:rPr lang="en-GB" smtClean="0"/>
              <a:t>‹#›</a:t>
            </a:fld>
            <a:endParaRPr lang="en-GB"/>
          </a:p>
        </p:txBody>
      </p:sp>
    </p:spTree>
    <p:extLst>
      <p:ext uri="{BB962C8B-B14F-4D97-AF65-F5344CB8AC3E}">
        <p14:creationId xmlns:p14="http://schemas.microsoft.com/office/powerpoint/2010/main" val="27258705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7B5BE83-7E46-4417-9FBF-2B463AB43312}" type="datetimeFigureOut">
              <a:rPr lang="en-GB" smtClean="0"/>
              <a:t>18/10/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79A4D766-0AD6-4838-8C68-C0E62E561E79}" type="slidenum">
              <a:rPr lang="en-GB" smtClean="0"/>
              <a:t>‹#›</a:t>
            </a:fld>
            <a:endParaRPr lang="en-GB"/>
          </a:p>
        </p:txBody>
      </p:sp>
    </p:spTree>
    <p:extLst>
      <p:ext uri="{BB962C8B-B14F-4D97-AF65-F5344CB8AC3E}">
        <p14:creationId xmlns:p14="http://schemas.microsoft.com/office/powerpoint/2010/main" val="867113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B5BE83-7E46-4417-9FBF-2B463AB43312}" type="datetimeFigureOut">
              <a:rPr lang="en-GB" smtClean="0"/>
              <a:t>18/10/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79A4D766-0AD6-4838-8C68-C0E62E561E79}" type="slidenum">
              <a:rPr lang="en-GB" smtClean="0"/>
              <a:t>‹#›</a:t>
            </a:fld>
            <a:endParaRPr lang="en-GB"/>
          </a:p>
        </p:txBody>
      </p:sp>
    </p:spTree>
    <p:extLst>
      <p:ext uri="{BB962C8B-B14F-4D97-AF65-F5344CB8AC3E}">
        <p14:creationId xmlns:p14="http://schemas.microsoft.com/office/powerpoint/2010/main" val="21544536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lvl1pPr marL="342900" indent="-342900">
              <a:buSzPct val="100000"/>
              <a:buFont typeface="Arial" panose="020B0604020202020204" pitchFamily="34" charset="0"/>
              <a:buChar char="•"/>
              <a:defRPr/>
            </a:lvl1pPr>
            <a:lvl2pPr marL="742950" indent="-285750">
              <a:buSzPct val="100000"/>
              <a:buFont typeface="Arial" panose="020B0604020202020204" pitchFamily="34" charset="0"/>
              <a:buChar char="•"/>
              <a:defRPr/>
            </a:lvl2pPr>
            <a:lvl3pPr marL="1143000" indent="-228600">
              <a:buSzPct val="100000"/>
              <a:buFont typeface="Arial" panose="020B0604020202020204" pitchFamily="34" charset="0"/>
              <a:buChar char="•"/>
              <a:defRPr/>
            </a:lvl3pPr>
            <a:lvl4pPr marL="1600200" indent="-228600">
              <a:buSzPct val="100000"/>
              <a:buFont typeface="Arial" panose="020B0604020202020204" pitchFamily="34" charset="0"/>
              <a:buChar char="•"/>
              <a:defRPr/>
            </a:lvl4pPr>
            <a:lvl5pPr marL="2057400" indent="-228600">
              <a:buSzPct val="100000"/>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B5BE83-7E46-4417-9FBF-2B463AB43312}" type="datetimeFigureOut">
              <a:rPr lang="en-GB" smtClean="0"/>
              <a:t>18/10/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9A4D766-0AD6-4838-8C68-C0E62E561E79}" type="slidenum">
              <a:rPr lang="en-GB" smtClean="0"/>
              <a:t>‹#›</a:t>
            </a:fld>
            <a:endParaRPr lang="en-GB"/>
          </a:p>
        </p:txBody>
      </p:sp>
    </p:spTree>
    <p:extLst>
      <p:ext uri="{BB962C8B-B14F-4D97-AF65-F5344CB8AC3E}">
        <p14:creationId xmlns:p14="http://schemas.microsoft.com/office/powerpoint/2010/main" val="2424491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9A4D766-0AD6-4838-8C68-C0E62E561E79}" type="slidenum">
              <a:rPr lang="en-GB" smtClean="0"/>
              <a:t>‹#›</a:t>
            </a:fld>
            <a:endParaRPr lang="en-GB"/>
          </a:p>
        </p:txBody>
      </p:sp>
      <p:sp>
        <p:nvSpPr>
          <p:cNvPr id="5" name="Date Placeholder 4"/>
          <p:cNvSpPr>
            <a:spLocks noGrp="1"/>
          </p:cNvSpPr>
          <p:nvPr>
            <p:ph type="dt" sz="half" idx="10"/>
          </p:nvPr>
        </p:nvSpPr>
        <p:spPr/>
        <p:txBody>
          <a:bodyPr/>
          <a:lstStyle/>
          <a:p>
            <a:fld id="{07B5BE83-7E46-4417-9FBF-2B463AB43312}" type="datetimeFigureOut">
              <a:rPr lang="en-GB" smtClean="0"/>
              <a:t>18/10/2023</a:t>
            </a:fld>
            <a:endParaRPr lang="en-GB"/>
          </a:p>
        </p:txBody>
      </p:sp>
    </p:spTree>
    <p:extLst>
      <p:ext uri="{BB962C8B-B14F-4D97-AF65-F5344CB8AC3E}">
        <p14:creationId xmlns:p14="http://schemas.microsoft.com/office/powerpoint/2010/main" val="3615843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07B5BE83-7E46-4417-9FBF-2B463AB43312}" type="datetimeFigureOut">
              <a:rPr lang="en-GB" smtClean="0"/>
              <a:t>18/10/2023</a:t>
            </a:fld>
            <a:endParaRPr lang="en-GB"/>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79A4D766-0AD6-4838-8C68-C0E62E561E79}" type="slidenum">
              <a:rPr lang="en-GB" smtClean="0"/>
              <a:t>‹#›</a:t>
            </a:fld>
            <a:endParaRPr lang="en-GB"/>
          </a:p>
        </p:txBody>
      </p:sp>
    </p:spTree>
    <p:extLst>
      <p:ext uri="{BB962C8B-B14F-4D97-AF65-F5344CB8AC3E}">
        <p14:creationId xmlns:p14="http://schemas.microsoft.com/office/powerpoint/2010/main" val="3481423202"/>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3.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5.jpeg"/><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45.svg"/><Relationship Id="rId4" Type="http://schemas.openxmlformats.org/officeDocument/2006/relationships/image" Target="../media/image44.png"/></Relationships>
</file>

<file path=ppt/slides/_rels/slide23.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18" Type="http://schemas.openxmlformats.org/officeDocument/2006/relationships/image" Target="../media/image21.sv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17" Type="http://schemas.openxmlformats.org/officeDocument/2006/relationships/image" Target="../media/image20.png"/><Relationship Id="rId2" Type="http://schemas.openxmlformats.org/officeDocument/2006/relationships/notesSlide" Target="../notesSlides/notesSlide19.xml"/><Relationship Id="rId16" Type="http://schemas.openxmlformats.org/officeDocument/2006/relationships/image" Target="../media/image19.svg"/><Relationship Id="rId1" Type="http://schemas.openxmlformats.org/officeDocument/2006/relationships/slideLayout" Target="../slideLayouts/slideLayout2.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 Id="rId14" Type="http://schemas.openxmlformats.org/officeDocument/2006/relationships/image" Target="../media/image17.svg"/></Relationships>
</file>

<file path=ppt/slides/_rels/slide2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3" Type="http://schemas.openxmlformats.org/officeDocument/2006/relationships/image" Target="../media/image36.png"/><Relationship Id="rId7" Type="http://schemas.openxmlformats.org/officeDocument/2006/relationships/image" Target="../media/image13.svg"/><Relationship Id="rId12"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45.svg"/><Relationship Id="rId15" Type="http://schemas.openxmlformats.org/officeDocument/2006/relationships/image" Target="../media/image21.svg"/><Relationship Id="rId10" Type="http://schemas.openxmlformats.org/officeDocument/2006/relationships/image" Target="../media/image16.png"/><Relationship Id="rId4" Type="http://schemas.openxmlformats.org/officeDocument/2006/relationships/image" Target="../media/image44.png"/><Relationship Id="rId9" Type="http://schemas.openxmlformats.org/officeDocument/2006/relationships/image" Target="../media/image15.svg"/><Relationship Id="rId14" Type="http://schemas.openxmlformats.org/officeDocument/2006/relationships/image" Target="../media/image20.png"/></Relationships>
</file>

<file path=ppt/slides/_rels/slide25.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3" Type="http://schemas.openxmlformats.org/officeDocument/2006/relationships/image" Target="../media/image36.png"/><Relationship Id="rId7" Type="http://schemas.openxmlformats.org/officeDocument/2006/relationships/image" Target="../media/image13.svg"/><Relationship Id="rId12"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45.svg"/><Relationship Id="rId15" Type="http://schemas.openxmlformats.org/officeDocument/2006/relationships/image" Target="../media/image21.svg"/><Relationship Id="rId10" Type="http://schemas.openxmlformats.org/officeDocument/2006/relationships/image" Target="../media/image16.png"/><Relationship Id="rId4" Type="http://schemas.openxmlformats.org/officeDocument/2006/relationships/image" Target="../media/image44.png"/><Relationship Id="rId9" Type="http://schemas.openxmlformats.org/officeDocument/2006/relationships/image" Target="../media/image15.svg"/><Relationship Id="rId14" Type="http://schemas.openxmlformats.org/officeDocument/2006/relationships/image" Target="../media/image2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sv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47.sv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svg"/><Relationship Id="rId4" Type="http://schemas.openxmlformats.org/officeDocument/2006/relationships/image" Target="../media/image46.svg"/><Relationship Id="rId9"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49.svg"/><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20.png"/><Relationship Id="rId3" Type="http://schemas.openxmlformats.org/officeDocument/2006/relationships/image" Target="../media/image5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46.sv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52.png"/><Relationship Id="rId10" Type="http://schemas.openxmlformats.org/officeDocument/2006/relationships/image" Target="../media/image17.svg"/><Relationship Id="rId4" Type="http://schemas.openxmlformats.org/officeDocument/2006/relationships/image" Target="../media/image51.svg"/><Relationship Id="rId9" Type="http://schemas.openxmlformats.org/officeDocument/2006/relationships/image" Target="../media/image16.png"/><Relationship Id="rId14" Type="http://schemas.openxmlformats.org/officeDocument/2006/relationships/image" Target="../media/image2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image" Target="../media/image50.png"/><Relationship Id="rId7" Type="http://schemas.openxmlformats.org/officeDocument/2006/relationships/image" Target="../media/image14.png"/><Relationship Id="rId12" Type="http://schemas.openxmlformats.org/officeDocument/2006/relationships/image" Target="../media/image19.svg"/><Relationship Id="rId17" Type="http://schemas.openxmlformats.org/officeDocument/2006/relationships/image" Target="../media/image52.png"/><Relationship Id="rId2" Type="http://schemas.openxmlformats.org/officeDocument/2006/relationships/notesSlide" Target="../notesSlides/notesSlide26.xml"/><Relationship Id="rId16" Type="http://schemas.openxmlformats.org/officeDocument/2006/relationships/image" Target="../media/image47.svg"/><Relationship Id="rId1" Type="http://schemas.openxmlformats.org/officeDocument/2006/relationships/slideLayout" Target="../slideLayouts/slideLayout2.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46.svg"/><Relationship Id="rId10" Type="http://schemas.openxmlformats.org/officeDocument/2006/relationships/image" Target="../media/image17.svg"/><Relationship Id="rId4" Type="http://schemas.openxmlformats.org/officeDocument/2006/relationships/image" Target="../media/image51.svg"/><Relationship Id="rId9" Type="http://schemas.openxmlformats.org/officeDocument/2006/relationships/image" Target="../media/image16.png"/><Relationship Id="rId14" Type="http://schemas.openxmlformats.org/officeDocument/2006/relationships/image" Target="../media/image21.svg"/></Relationships>
</file>

<file path=ppt/slides/_rels/slide31.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image" Target="../media/image50.png"/><Relationship Id="rId7" Type="http://schemas.openxmlformats.org/officeDocument/2006/relationships/image" Target="../media/image14.png"/><Relationship Id="rId12" Type="http://schemas.openxmlformats.org/officeDocument/2006/relationships/image" Target="../media/image19.svg"/><Relationship Id="rId17" Type="http://schemas.openxmlformats.org/officeDocument/2006/relationships/image" Target="../media/image52.png"/><Relationship Id="rId2" Type="http://schemas.openxmlformats.org/officeDocument/2006/relationships/notesSlide" Target="../notesSlides/notesSlide27.xml"/><Relationship Id="rId16" Type="http://schemas.openxmlformats.org/officeDocument/2006/relationships/image" Target="../media/image47.svg"/><Relationship Id="rId1" Type="http://schemas.openxmlformats.org/officeDocument/2006/relationships/slideLayout" Target="../slideLayouts/slideLayout2.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46.svg"/><Relationship Id="rId10" Type="http://schemas.openxmlformats.org/officeDocument/2006/relationships/image" Target="../media/image17.svg"/><Relationship Id="rId4" Type="http://schemas.openxmlformats.org/officeDocument/2006/relationships/image" Target="../media/image51.svg"/><Relationship Id="rId9" Type="http://schemas.openxmlformats.org/officeDocument/2006/relationships/image" Target="../media/image16.png"/><Relationship Id="rId14" Type="http://schemas.openxmlformats.org/officeDocument/2006/relationships/image" Target="../media/image21.svg"/></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hyperlink" Target="https://github.com/PSIAIMS/git-training"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4.xml.rels><?xml version="1.0" encoding="UTF-8" standalone="yes"?>
<Relationships xmlns="http://schemas.openxmlformats.org/package/2006/relationships"><Relationship Id="rId3" Type="http://schemas.openxmlformats.org/officeDocument/2006/relationships/hyperlink" Target="https://camis.shinyapps.io/git-app/"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posit.cloud/spaces/432674/join?access_code=epLdhp_pD0Lp8TR1sjfJMmRETv26XugYx-hu7QmW"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hyperlink" Target="https://login.posit.cloud/"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4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65.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4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svg"/><Relationship Id="rId3" Type="http://schemas.openxmlformats.org/officeDocument/2006/relationships/image" Target="../media/image7.svg"/><Relationship Id="rId7" Type="http://schemas.openxmlformats.org/officeDocument/2006/relationships/image" Target="../media/image11.svg"/><Relationship Id="rId12" Type="http://schemas.openxmlformats.org/officeDocument/2006/relationships/image" Target="../media/image16.png"/><Relationship Id="rId17" Type="http://schemas.openxmlformats.org/officeDocument/2006/relationships/image" Target="../media/image21.svg"/><Relationship Id="rId2" Type="http://schemas.openxmlformats.org/officeDocument/2006/relationships/image" Target="../media/image6.png"/><Relationship Id="rId16"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5" Type="http://schemas.openxmlformats.org/officeDocument/2006/relationships/image" Target="../media/image1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svg"/><Relationship Id="rId14" Type="http://schemas.openxmlformats.org/officeDocument/2006/relationships/image" Target="../media/image18.png"/></Relationships>
</file>

<file path=ppt/slides/_rels/slide5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74.png"/></Relationships>
</file>

<file path=ppt/slides/_rels/slide5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s://github.com/tidyverse/dplyr" TargetMode="Externa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77.png"/></Relationships>
</file>

<file path=ppt/slides/_rels/slide5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5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6.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svg"/><Relationship Id="rId2" Type="http://schemas.openxmlformats.org/officeDocument/2006/relationships/notesSlide" Target="../notesSlides/notesSlide4.xml"/><Relationship Id="rId16" Type="http://schemas.openxmlformats.org/officeDocument/2006/relationships/image" Target="../media/image35.svg"/><Relationship Id="rId1" Type="http://schemas.openxmlformats.org/officeDocument/2006/relationships/slideLayout" Target="../slideLayouts/slideLayout2.xml"/><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 Id="rId14" Type="http://schemas.openxmlformats.org/officeDocument/2006/relationships/image" Target="../media/image33.svg"/></Relationships>
</file>

<file path=ppt/slides/_rels/slide6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https://git-scm.com/book/en/v2" TargetMode="External"/><Relationship Id="rId2" Type="http://schemas.openxmlformats.org/officeDocument/2006/relationships/hyperlink" Target="https://git-scm.com/" TargetMode="External"/><Relationship Id="rId1" Type="http://schemas.openxmlformats.org/officeDocument/2006/relationships/slideLayout" Target="../slideLayouts/slideLayout2.xml"/><Relationship Id="rId6" Type="http://schemas.openxmlformats.org/officeDocument/2006/relationships/hyperlink" Target="https://happygitwithr.com/" TargetMode="External"/><Relationship Id="rId5" Type="http://schemas.openxmlformats.org/officeDocument/2006/relationships/hyperlink" Target="https://www.atlassian.com/git/tutorials/atlassian-git-cheatsheet" TargetMode="External"/><Relationship Id="rId4" Type="http://schemas.openxmlformats.org/officeDocument/2006/relationships/hyperlink" Target="https://docs.github.com/en"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31DAD-89DD-4BB7-983A-74F7BC2EE6C9}"/>
              </a:ext>
            </a:extLst>
          </p:cNvPr>
          <p:cNvSpPr>
            <a:spLocks noGrp="1"/>
          </p:cNvSpPr>
          <p:nvPr>
            <p:ph type="ctrTitle"/>
          </p:nvPr>
        </p:nvSpPr>
        <p:spPr/>
        <p:txBody>
          <a:bodyPr/>
          <a:lstStyle/>
          <a:p>
            <a:pPr algn="ctr"/>
            <a:r>
              <a:rPr lang="en-US" sz="4800" b="1" dirty="0">
                <a:effectLst/>
                <a:latin typeface="Trebuchet MS" panose="020B0603020202020204" pitchFamily="34" charset="0"/>
                <a:ea typeface="Calibri" panose="020F0502020204030204" pitchFamily="34" charset="0"/>
              </a:rPr>
              <a:t>Version Control with Git &amp; RStudio</a:t>
            </a:r>
            <a:endParaRPr lang="en-GB" sz="4800" dirty="0">
              <a:latin typeface="Trebuchet MS" panose="020B0603020202020204" pitchFamily="34" charset="0"/>
            </a:endParaRPr>
          </a:p>
        </p:txBody>
      </p:sp>
      <p:pic>
        <p:nvPicPr>
          <p:cNvPr id="4" name="Picture 3">
            <a:extLst>
              <a:ext uri="{FF2B5EF4-FFF2-40B4-BE49-F238E27FC236}">
                <a16:creationId xmlns:a16="http://schemas.microsoft.com/office/drawing/2014/main" id="{6F2A51BC-FF73-43D5-BCB3-99DB30179C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503" y="5878073"/>
            <a:ext cx="895475" cy="838317"/>
          </a:xfrm>
          <a:prstGeom prst="rect">
            <a:avLst/>
          </a:prstGeom>
        </p:spPr>
      </p:pic>
      <p:sp>
        <p:nvSpPr>
          <p:cNvPr id="5" name="TextBox 4">
            <a:extLst>
              <a:ext uri="{FF2B5EF4-FFF2-40B4-BE49-F238E27FC236}">
                <a16:creationId xmlns:a16="http://schemas.microsoft.com/office/drawing/2014/main" id="{318A0F1B-A9C1-4D31-B699-FCC0CEB90DB8}"/>
              </a:ext>
            </a:extLst>
          </p:cNvPr>
          <p:cNvSpPr txBox="1"/>
          <p:nvPr/>
        </p:nvSpPr>
        <p:spPr>
          <a:xfrm>
            <a:off x="11653024" y="6467707"/>
            <a:ext cx="538976" cy="369332"/>
          </a:xfrm>
          <a:prstGeom prst="rect">
            <a:avLst/>
          </a:prstGeom>
          <a:noFill/>
        </p:spPr>
        <p:txBody>
          <a:bodyPr wrap="square" rtlCol="0">
            <a:spAutoFit/>
          </a:bodyPr>
          <a:lstStyle/>
          <a:p>
            <a:fld id="{7963FE43-8656-4C5A-9E03-5FE3C6822857}" type="slidenum">
              <a:rPr lang="en-US" smtClean="0"/>
              <a:t>1</a:t>
            </a:fld>
            <a:endParaRPr lang="en-US" dirty="0"/>
          </a:p>
        </p:txBody>
      </p:sp>
      <p:sp>
        <p:nvSpPr>
          <p:cNvPr id="8" name="Subtitle 2">
            <a:extLst>
              <a:ext uri="{FF2B5EF4-FFF2-40B4-BE49-F238E27FC236}">
                <a16:creationId xmlns:a16="http://schemas.microsoft.com/office/drawing/2014/main" id="{9CD211B9-2782-D450-DFE8-ED9ACA467F02}"/>
              </a:ext>
            </a:extLst>
          </p:cNvPr>
          <p:cNvSpPr txBox="1">
            <a:spLocks/>
          </p:cNvSpPr>
          <p:nvPr/>
        </p:nvSpPr>
        <p:spPr>
          <a:xfrm>
            <a:off x="1507066" y="4537395"/>
            <a:ext cx="7978309" cy="1558605"/>
          </a:xfrm>
          <a:prstGeom prst="rect">
            <a:avLst/>
          </a:prstGeom>
        </p:spPr>
        <p:txBody>
          <a:bodyPr vert="horz" lIns="91440" tIns="45720" rIns="91440" bIns="45720" rtlCol="0" anchor="t">
            <a:normAutofit lnSpcReduction="10000"/>
          </a:bodyPr>
          <a:lstStyle>
            <a:lvl1pPr marL="0" indent="0" algn="r" defTabSz="457200" rtl="0" eaLnBrk="1" latinLnBrk="0" hangingPunct="1">
              <a:spcBef>
                <a:spcPts val="1000"/>
              </a:spcBef>
              <a:spcAft>
                <a:spcPts val="0"/>
              </a:spcAft>
              <a:buClr>
                <a:schemeClr val="accent1"/>
              </a:buClr>
              <a:buSzPct val="80000"/>
              <a:buFont typeface="Wingdings 3" charset="2"/>
              <a:buNone/>
              <a:defRPr sz="1800" kern="1200">
                <a:solidFill>
                  <a:schemeClr val="tx1">
                    <a:lumMod val="50000"/>
                    <a:lumOff val="50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SzPct val="80000"/>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SzPct val="80000"/>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9pPr>
          </a:lstStyle>
          <a:p>
            <a:r>
              <a:rPr lang="en-US" b="1" dirty="0">
                <a:latin typeface="Calibri" panose="020F0502020204030204" pitchFamily="34" charset="0"/>
                <a:ea typeface="Calibri" panose="020F0502020204030204" pitchFamily="34" charset="0"/>
              </a:rPr>
              <a:t>Christina Fillmore (GSK) </a:t>
            </a:r>
          </a:p>
          <a:p>
            <a:r>
              <a:rPr lang="en-US" b="1" dirty="0">
                <a:latin typeface="Calibri" panose="020F0502020204030204" pitchFamily="34" charset="0"/>
                <a:ea typeface="Calibri" panose="020F0502020204030204" pitchFamily="34" charset="0"/>
              </a:rPr>
              <a:t>Lyn Taylor (PAREXEL)</a:t>
            </a:r>
          </a:p>
          <a:p>
            <a:r>
              <a:rPr lang="en-US" b="1" dirty="0">
                <a:latin typeface="Calibri" panose="020F0502020204030204" pitchFamily="34" charset="0"/>
                <a:ea typeface="Calibri" panose="020F0502020204030204" pitchFamily="34" charset="0"/>
              </a:rPr>
              <a:t>Irene Vassallo (Incyte)</a:t>
            </a:r>
          </a:p>
          <a:p>
            <a:r>
              <a:rPr lang="en-US" b="1" dirty="0">
                <a:latin typeface="Calibri" panose="020F0502020204030204" pitchFamily="34" charset="0"/>
                <a:ea typeface="Calibri" panose="020F0502020204030204" pitchFamily="34" charset="0"/>
              </a:rPr>
              <a:t>Alexandra Lauer (Merck </a:t>
            </a:r>
            <a:r>
              <a:rPr lang="en-US" b="1" dirty="0" err="1">
                <a:latin typeface="Calibri" panose="020F0502020204030204" pitchFamily="34" charset="0"/>
                <a:ea typeface="Calibri" panose="020F0502020204030204" pitchFamily="34" charset="0"/>
              </a:rPr>
              <a:t>KGaA</a:t>
            </a:r>
            <a:r>
              <a:rPr lang="en-US" b="1" dirty="0">
                <a:latin typeface="Calibri" panose="020F0502020204030204" pitchFamily="34" charset="0"/>
                <a:ea typeface="Calibri" panose="020F0502020204030204" pitchFamily="34" charset="0"/>
              </a:rPr>
              <a:t>, Darmstadt, Germany) </a:t>
            </a:r>
            <a:endParaRPr lang="en-GB" dirty="0"/>
          </a:p>
        </p:txBody>
      </p:sp>
    </p:spTree>
    <p:extLst>
      <p:ext uri="{BB962C8B-B14F-4D97-AF65-F5344CB8AC3E}">
        <p14:creationId xmlns:p14="http://schemas.microsoft.com/office/powerpoint/2010/main" val="31106333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7B938-00C5-E5EA-C272-56F365C0CCDD}"/>
              </a:ext>
            </a:extLst>
          </p:cNvPr>
          <p:cNvSpPr>
            <a:spLocks noGrp="1"/>
          </p:cNvSpPr>
          <p:nvPr>
            <p:ph type="title"/>
          </p:nvPr>
        </p:nvSpPr>
        <p:spPr/>
        <p:txBody>
          <a:bodyPr/>
          <a:lstStyle/>
          <a:p>
            <a:r>
              <a:rPr lang="en-US" dirty="0"/>
              <a:t>What we did in the exercise </a:t>
            </a:r>
          </a:p>
        </p:txBody>
      </p:sp>
      <p:sp>
        <p:nvSpPr>
          <p:cNvPr id="3" name="Content Placeholder 2">
            <a:extLst>
              <a:ext uri="{FF2B5EF4-FFF2-40B4-BE49-F238E27FC236}">
                <a16:creationId xmlns:a16="http://schemas.microsoft.com/office/drawing/2014/main" id="{09B6A362-5DD5-6EFA-E47C-7D50A358643B}"/>
              </a:ext>
            </a:extLst>
          </p:cNvPr>
          <p:cNvSpPr>
            <a:spLocks noGrp="1"/>
          </p:cNvSpPr>
          <p:nvPr>
            <p:ph idx="1"/>
          </p:nvPr>
        </p:nvSpPr>
        <p:spPr/>
        <p:txBody>
          <a:bodyPr>
            <a:normAutofit/>
          </a:bodyPr>
          <a:lstStyle/>
          <a:p>
            <a:r>
              <a:rPr lang="en-US" sz="2400" dirty="0"/>
              <a:t>Made a commit </a:t>
            </a:r>
          </a:p>
          <a:p>
            <a:r>
              <a:rPr lang="en-US" sz="2400" dirty="0"/>
              <a:t>Created a git network graph </a:t>
            </a:r>
          </a:p>
          <a:p>
            <a:r>
              <a:rPr lang="en-US" sz="2400" dirty="0"/>
              <a:t>“checked-out” different commits</a:t>
            </a:r>
          </a:p>
          <a:p>
            <a:r>
              <a:rPr lang="en-US" sz="2400" dirty="0"/>
              <a:t>Tagged a commit  </a:t>
            </a:r>
          </a:p>
        </p:txBody>
      </p:sp>
      <p:sp>
        <p:nvSpPr>
          <p:cNvPr id="4" name="Oval 3">
            <a:extLst>
              <a:ext uri="{FF2B5EF4-FFF2-40B4-BE49-F238E27FC236}">
                <a16:creationId xmlns:a16="http://schemas.microsoft.com/office/drawing/2014/main" id="{CB778EAB-827E-6C88-60E4-21C3BC2E7F02}"/>
              </a:ext>
            </a:extLst>
          </p:cNvPr>
          <p:cNvSpPr/>
          <p:nvPr/>
        </p:nvSpPr>
        <p:spPr>
          <a:xfrm>
            <a:off x="1674986" y="423634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FC18DA5F-5C58-3E5D-51BC-F5918E638A40}"/>
              </a:ext>
            </a:extLst>
          </p:cNvPr>
          <p:cNvGrpSpPr/>
          <p:nvPr/>
        </p:nvGrpSpPr>
        <p:grpSpPr>
          <a:xfrm>
            <a:off x="2703686" y="4236341"/>
            <a:ext cx="5272628" cy="1028700"/>
            <a:chOff x="2703686" y="4236341"/>
            <a:chExt cx="5272628" cy="1028700"/>
          </a:xfrm>
        </p:grpSpPr>
        <p:cxnSp>
          <p:nvCxnSpPr>
            <p:cNvPr id="12" name="Straight Connector 11">
              <a:extLst>
                <a:ext uri="{FF2B5EF4-FFF2-40B4-BE49-F238E27FC236}">
                  <a16:creationId xmlns:a16="http://schemas.microsoft.com/office/drawing/2014/main" id="{CFD9C256-EED8-D2E4-755F-4F482292D385}"/>
                </a:ext>
              </a:extLst>
            </p:cNvPr>
            <p:cNvCxnSpPr>
              <a:cxnSpLocks/>
            </p:cNvCxnSpPr>
            <p:nvPr/>
          </p:nvCxnSpPr>
          <p:spPr>
            <a:xfrm flipH="1">
              <a:off x="6218772" y="4754408"/>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C0E446D1-8136-694E-A081-6A74DF985834}"/>
                </a:ext>
              </a:extLst>
            </p:cNvPr>
            <p:cNvCxnSpPr>
              <a:cxnSpLocks/>
            </p:cNvCxnSpPr>
            <p:nvPr/>
          </p:nvCxnSpPr>
          <p:spPr>
            <a:xfrm flipH="1">
              <a:off x="4461229" y="4754408"/>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6" name="Oval 5">
              <a:extLst>
                <a:ext uri="{FF2B5EF4-FFF2-40B4-BE49-F238E27FC236}">
                  <a16:creationId xmlns:a16="http://schemas.microsoft.com/office/drawing/2014/main" id="{DACAE024-A0F5-805C-53A3-E6352A018E39}"/>
                </a:ext>
              </a:extLst>
            </p:cNvPr>
            <p:cNvSpPr/>
            <p:nvPr/>
          </p:nvSpPr>
          <p:spPr>
            <a:xfrm>
              <a:off x="5190072" y="423634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90EB0940-80C9-C11B-49DA-039647E0C2FF}"/>
                </a:ext>
              </a:extLst>
            </p:cNvPr>
            <p:cNvCxnSpPr>
              <a:cxnSpLocks/>
            </p:cNvCxnSpPr>
            <p:nvPr/>
          </p:nvCxnSpPr>
          <p:spPr>
            <a:xfrm flipH="1">
              <a:off x="2703686" y="4754408"/>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5" name="Oval 4">
              <a:extLst>
                <a:ext uri="{FF2B5EF4-FFF2-40B4-BE49-F238E27FC236}">
                  <a16:creationId xmlns:a16="http://schemas.microsoft.com/office/drawing/2014/main" id="{1922CE9F-33E9-C3A7-DAD4-C2253AE2A7C7}"/>
                </a:ext>
              </a:extLst>
            </p:cNvPr>
            <p:cNvSpPr/>
            <p:nvPr/>
          </p:nvSpPr>
          <p:spPr>
            <a:xfrm>
              <a:off x="3432529" y="423634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9010A576-5359-516C-01F3-D04A4737801D}"/>
                </a:ext>
              </a:extLst>
            </p:cNvPr>
            <p:cNvSpPr/>
            <p:nvPr/>
          </p:nvSpPr>
          <p:spPr>
            <a:xfrm>
              <a:off x="6947614" y="423634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Oval 14">
            <a:extLst>
              <a:ext uri="{FF2B5EF4-FFF2-40B4-BE49-F238E27FC236}">
                <a16:creationId xmlns:a16="http://schemas.microsoft.com/office/drawing/2014/main" id="{66186FAB-5257-E5F8-A04D-F9E1BAB3F8CF}"/>
              </a:ext>
            </a:extLst>
          </p:cNvPr>
          <p:cNvSpPr/>
          <p:nvPr/>
        </p:nvSpPr>
        <p:spPr>
          <a:xfrm>
            <a:off x="3432529" y="4236341"/>
            <a:ext cx="1028700" cy="1028700"/>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619C124C-1906-2347-156E-C6AF89C59082}"/>
              </a:ext>
            </a:extLst>
          </p:cNvPr>
          <p:cNvSpPr/>
          <p:nvPr/>
        </p:nvSpPr>
        <p:spPr>
          <a:xfrm>
            <a:off x="3418674" y="4236341"/>
            <a:ext cx="1028700" cy="1028700"/>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2256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15" grpId="0" animBg="1"/>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678671-47EA-4656-A388-ECDB45473E7C}"/>
              </a:ext>
            </a:extLst>
          </p:cNvPr>
          <p:cNvSpPr>
            <a:spLocks noGrp="1"/>
          </p:cNvSpPr>
          <p:nvPr>
            <p:ph type="title"/>
          </p:nvPr>
        </p:nvSpPr>
        <p:spPr/>
        <p:txBody>
          <a:bodyPr/>
          <a:lstStyle/>
          <a:p>
            <a:r>
              <a:rPr lang="en-US" dirty="0"/>
              <a:t>Checking-out</a:t>
            </a:r>
          </a:p>
        </p:txBody>
      </p:sp>
      <p:sp>
        <p:nvSpPr>
          <p:cNvPr id="3" name="Content Placeholder 2">
            <a:extLst>
              <a:ext uri="{FF2B5EF4-FFF2-40B4-BE49-F238E27FC236}">
                <a16:creationId xmlns:a16="http://schemas.microsoft.com/office/drawing/2014/main" id="{EB086563-D0DD-BC54-1C19-2D99A654306B}"/>
              </a:ext>
            </a:extLst>
          </p:cNvPr>
          <p:cNvSpPr>
            <a:spLocks noGrp="1"/>
          </p:cNvSpPr>
          <p:nvPr>
            <p:ph idx="1"/>
          </p:nvPr>
        </p:nvSpPr>
        <p:spPr/>
        <p:txBody>
          <a:bodyPr>
            <a:normAutofit/>
          </a:bodyPr>
          <a:lstStyle/>
          <a:p>
            <a:r>
              <a:rPr lang="en-US" sz="2400" dirty="0"/>
              <a:t>The checkout command in git is used to move around </a:t>
            </a:r>
          </a:p>
          <a:p>
            <a:r>
              <a:rPr lang="en-US" sz="2400" dirty="0"/>
              <a:t>The commit that is currently checkout is referred to as the “HEAD”</a:t>
            </a:r>
          </a:p>
        </p:txBody>
      </p:sp>
      <p:sp>
        <p:nvSpPr>
          <p:cNvPr id="4" name="Oval 3">
            <a:extLst>
              <a:ext uri="{FF2B5EF4-FFF2-40B4-BE49-F238E27FC236}">
                <a16:creationId xmlns:a16="http://schemas.microsoft.com/office/drawing/2014/main" id="{D475264A-9109-FE13-B516-B2A6B5014BA6}"/>
              </a:ext>
            </a:extLst>
          </p:cNvPr>
          <p:cNvSpPr/>
          <p:nvPr/>
        </p:nvSpPr>
        <p:spPr>
          <a:xfrm>
            <a:off x="1674986" y="423634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4E8F03A6-02EC-937A-A90C-06AEA459E295}"/>
              </a:ext>
            </a:extLst>
          </p:cNvPr>
          <p:cNvGrpSpPr/>
          <p:nvPr/>
        </p:nvGrpSpPr>
        <p:grpSpPr>
          <a:xfrm>
            <a:off x="2703686" y="4236341"/>
            <a:ext cx="5272628" cy="1028700"/>
            <a:chOff x="2703686" y="4236341"/>
            <a:chExt cx="5272628" cy="1028700"/>
          </a:xfrm>
        </p:grpSpPr>
        <p:cxnSp>
          <p:nvCxnSpPr>
            <p:cNvPr id="6" name="Straight Connector 5">
              <a:extLst>
                <a:ext uri="{FF2B5EF4-FFF2-40B4-BE49-F238E27FC236}">
                  <a16:creationId xmlns:a16="http://schemas.microsoft.com/office/drawing/2014/main" id="{E5A9435A-65CA-01AD-47C2-F6B51B5788B9}"/>
                </a:ext>
              </a:extLst>
            </p:cNvPr>
            <p:cNvCxnSpPr>
              <a:cxnSpLocks/>
            </p:cNvCxnSpPr>
            <p:nvPr/>
          </p:nvCxnSpPr>
          <p:spPr>
            <a:xfrm flipH="1">
              <a:off x="6218772" y="4754408"/>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D559938-59B1-9ECB-002F-98B6DFBB1D1E}"/>
                </a:ext>
              </a:extLst>
            </p:cNvPr>
            <p:cNvCxnSpPr>
              <a:cxnSpLocks/>
            </p:cNvCxnSpPr>
            <p:nvPr/>
          </p:nvCxnSpPr>
          <p:spPr>
            <a:xfrm flipH="1">
              <a:off x="4461229" y="4754408"/>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8" name="Oval 7">
              <a:extLst>
                <a:ext uri="{FF2B5EF4-FFF2-40B4-BE49-F238E27FC236}">
                  <a16:creationId xmlns:a16="http://schemas.microsoft.com/office/drawing/2014/main" id="{E070836D-B007-F1B1-79FF-258A1097F70F}"/>
                </a:ext>
              </a:extLst>
            </p:cNvPr>
            <p:cNvSpPr/>
            <p:nvPr/>
          </p:nvSpPr>
          <p:spPr>
            <a:xfrm>
              <a:off x="5190072" y="423634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B708C025-B387-86CC-B844-75E439421164}"/>
                </a:ext>
              </a:extLst>
            </p:cNvPr>
            <p:cNvCxnSpPr>
              <a:cxnSpLocks/>
            </p:cNvCxnSpPr>
            <p:nvPr/>
          </p:nvCxnSpPr>
          <p:spPr>
            <a:xfrm flipH="1">
              <a:off x="2703686" y="4754408"/>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10" name="Oval 9">
              <a:extLst>
                <a:ext uri="{FF2B5EF4-FFF2-40B4-BE49-F238E27FC236}">
                  <a16:creationId xmlns:a16="http://schemas.microsoft.com/office/drawing/2014/main" id="{178EB071-F260-38E7-5ED1-830B927A5BAD}"/>
                </a:ext>
              </a:extLst>
            </p:cNvPr>
            <p:cNvSpPr/>
            <p:nvPr/>
          </p:nvSpPr>
          <p:spPr>
            <a:xfrm>
              <a:off x="3432529" y="423634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05420A5A-41AA-111D-F098-06D06B67D43A}"/>
                </a:ext>
              </a:extLst>
            </p:cNvPr>
            <p:cNvSpPr/>
            <p:nvPr/>
          </p:nvSpPr>
          <p:spPr>
            <a:xfrm>
              <a:off x="6947614" y="423634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Oval 12">
            <a:extLst>
              <a:ext uri="{FF2B5EF4-FFF2-40B4-BE49-F238E27FC236}">
                <a16:creationId xmlns:a16="http://schemas.microsoft.com/office/drawing/2014/main" id="{2F74CBB9-5158-E0A2-70E9-997584A71DF6}"/>
              </a:ext>
            </a:extLst>
          </p:cNvPr>
          <p:cNvSpPr/>
          <p:nvPr/>
        </p:nvSpPr>
        <p:spPr>
          <a:xfrm>
            <a:off x="5190072" y="4236341"/>
            <a:ext cx="1028700" cy="1028700"/>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C70765AF-9CB8-A496-6CCB-19E2388BBF21}"/>
              </a:ext>
            </a:extLst>
          </p:cNvPr>
          <p:cNvSpPr/>
          <p:nvPr/>
        </p:nvSpPr>
        <p:spPr>
          <a:xfrm>
            <a:off x="6947613" y="4236341"/>
            <a:ext cx="1028700" cy="1028700"/>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7676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FFA50-A75E-D263-3685-2C2A91A573D3}"/>
              </a:ext>
            </a:extLst>
          </p:cNvPr>
          <p:cNvSpPr>
            <a:spLocks noGrp="1"/>
          </p:cNvSpPr>
          <p:nvPr>
            <p:ph type="title"/>
          </p:nvPr>
        </p:nvSpPr>
        <p:spPr/>
        <p:txBody>
          <a:bodyPr/>
          <a:lstStyle/>
          <a:p>
            <a:r>
              <a:rPr lang="en-US" dirty="0"/>
              <a:t>Tags</a:t>
            </a:r>
          </a:p>
        </p:txBody>
      </p:sp>
      <p:sp>
        <p:nvSpPr>
          <p:cNvPr id="3" name="Content Placeholder 2">
            <a:extLst>
              <a:ext uri="{FF2B5EF4-FFF2-40B4-BE49-F238E27FC236}">
                <a16:creationId xmlns:a16="http://schemas.microsoft.com/office/drawing/2014/main" id="{1B943489-A115-E1D7-2001-0845ABE4658D}"/>
              </a:ext>
            </a:extLst>
          </p:cNvPr>
          <p:cNvSpPr>
            <a:spLocks noGrp="1"/>
          </p:cNvSpPr>
          <p:nvPr>
            <p:ph idx="1"/>
          </p:nvPr>
        </p:nvSpPr>
        <p:spPr/>
        <p:txBody>
          <a:bodyPr>
            <a:normAutofit/>
          </a:bodyPr>
          <a:lstStyle/>
          <a:p>
            <a:r>
              <a:rPr lang="en-US" sz="2400" dirty="0"/>
              <a:t>Often used for package releases</a:t>
            </a:r>
          </a:p>
          <a:p>
            <a:r>
              <a:rPr lang="en-US" sz="2400" dirty="0"/>
              <a:t>Any commit can be tagged</a:t>
            </a:r>
          </a:p>
          <a:p>
            <a:r>
              <a:rPr lang="en-US" sz="2400" i="1" dirty="0"/>
              <a:t>But</a:t>
            </a:r>
            <a:r>
              <a:rPr lang="en-US" sz="2400" dirty="0"/>
              <a:t> only one commit can be tagged</a:t>
            </a:r>
            <a:endParaRPr lang="en-US" sz="2400" i="1" dirty="0"/>
          </a:p>
          <a:p>
            <a:endParaRPr lang="en-US" sz="2400" dirty="0"/>
          </a:p>
        </p:txBody>
      </p:sp>
      <p:grpSp>
        <p:nvGrpSpPr>
          <p:cNvPr id="8" name="Group 7">
            <a:extLst>
              <a:ext uri="{FF2B5EF4-FFF2-40B4-BE49-F238E27FC236}">
                <a16:creationId xmlns:a16="http://schemas.microsoft.com/office/drawing/2014/main" id="{098A354A-1A55-833C-C957-D7FE3A932B11}"/>
              </a:ext>
            </a:extLst>
          </p:cNvPr>
          <p:cNvGrpSpPr/>
          <p:nvPr/>
        </p:nvGrpSpPr>
        <p:grpSpPr>
          <a:xfrm>
            <a:off x="3886200" y="3686176"/>
            <a:ext cx="3529013" cy="3412812"/>
            <a:chOff x="5638799" y="1073925"/>
            <a:chExt cx="2812275" cy="2812275"/>
          </a:xfrm>
        </p:grpSpPr>
        <p:pic>
          <p:nvPicPr>
            <p:cNvPr id="5" name="Graphic 4" descr="Signpost with solid fill">
              <a:extLst>
                <a:ext uri="{FF2B5EF4-FFF2-40B4-BE49-F238E27FC236}">
                  <a16:creationId xmlns:a16="http://schemas.microsoft.com/office/drawing/2014/main" id="{62BD6B4E-8401-62F8-E025-D0D773CBEC2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799" y="1073925"/>
              <a:ext cx="2812275" cy="2812275"/>
            </a:xfrm>
            <a:prstGeom prst="rect">
              <a:avLst/>
            </a:prstGeom>
          </p:spPr>
        </p:pic>
        <p:pic>
          <p:nvPicPr>
            <p:cNvPr id="7" name="Graphic 6" descr="Signpost outline">
              <a:extLst>
                <a:ext uri="{FF2B5EF4-FFF2-40B4-BE49-F238E27FC236}">
                  <a16:creationId xmlns:a16="http://schemas.microsoft.com/office/drawing/2014/main" id="{B42E8719-B197-37C6-2434-FF28138B67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8799" y="1073925"/>
              <a:ext cx="2812275" cy="2812275"/>
            </a:xfrm>
            <a:prstGeom prst="rect">
              <a:avLst/>
            </a:prstGeom>
          </p:spPr>
        </p:pic>
      </p:grpSp>
    </p:spTree>
    <p:extLst>
      <p:ext uri="{BB962C8B-B14F-4D97-AF65-F5344CB8AC3E}">
        <p14:creationId xmlns:p14="http://schemas.microsoft.com/office/powerpoint/2010/main" val="21068714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B502D-8431-DB66-F8B0-CBB1780BB3F6}"/>
              </a:ext>
            </a:extLst>
          </p:cNvPr>
          <p:cNvSpPr>
            <a:spLocks noGrp="1"/>
          </p:cNvSpPr>
          <p:nvPr>
            <p:ph type="title"/>
          </p:nvPr>
        </p:nvSpPr>
        <p:spPr/>
        <p:txBody>
          <a:bodyPr/>
          <a:lstStyle/>
          <a:p>
            <a:r>
              <a:rPr lang="en-US" dirty="0"/>
              <a:t>Branching</a:t>
            </a:r>
            <a:br>
              <a:rPr lang="en-US" dirty="0"/>
            </a:br>
            <a:endParaRPr lang="en-US" dirty="0"/>
          </a:p>
        </p:txBody>
      </p:sp>
      <p:sp>
        <p:nvSpPr>
          <p:cNvPr id="25" name="Rectangle 24">
            <a:extLst>
              <a:ext uri="{FF2B5EF4-FFF2-40B4-BE49-F238E27FC236}">
                <a16:creationId xmlns:a16="http://schemas.microsoft.com/office/drawing/2014/main" id="{ACEEEC76-BCD4-2009-28F5-D85D5181ED5D}"/>
              </a:ext>
            </a:extLst>
          </p:cNvPr>
          <p:cNvSpPr/>
          <p:nvPr/>
        </p:nvSpPr>
        <p:spPr>
          <a:xfrm>
            <a:off x="5586412" y="1739153"/>
            <a:ext cx="4164901" cy="1152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AB12ADEF-96B2-C864-0361-F46120147B8D}"/>
              </a:ext>
            </a:extLst>
          </p:cNvPr>
          <p:cNvSpPr/>
          <p:nvPr/>
        </p:nvSpPr>
        <p:spPr>
          <a:xfrm>
            <a:off x="3689704" y="4255307"/>
            <a:ext cx="2599188" cy="1152000"/>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C1A6CCBC-2E70-652C-9555-A9E48D5E6D98}"/>
              </a:ext>
            </a:extLst>
          </p:cNvPr>
          <p:cNvSpPr/>
          <p:nvPr/>
        </p:nvSpPr>
        <p:spPr>
          <a:xfrm>
            <a:off x="442913" y="3041657"/>
            <a:ext cx="7727799" cy="1152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595AF38-5D78-240E-ACBD-C4F08EF13F4F}"/>
              </a:ext>
            </a:extLst>
          </p:cNvPr>
          <p:cNvCxnSpPr>
            <a:cxnSpLocks/>
            <a:stCxn id="6" idx="5"/>
          </p:cNvCxnSpPr>
          <p:nvPr/>
        </p:nvCxnSpPr>
        <p:spPr>
          <a:xfrm>
            <a:off x="3539054" y="3981357"/>
            <a:ext cx="618609" cy="573870"/>
          </a:xfrm>
          <a:prstGeom prst="line">
            <a:avLst/>
          </a:prstGeom>
          <a:ln w="28575">
            <a:solidFill>
              <a:schemeClr val="accent6"/>
            </a:solidFill>
          </a:ln>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EF0F4FEE-B861-15CE-4BC3-B1858213234F}"/>
              </a:ext>
            </a:extLst>
          </p:cNvPr>
          <p:cNvCxnSpPr>
            <a:cxnSpLocks/>
            <a:stCxn id="7" idx="7"/>
          </p:cNvCxnSpPr>
          <p:nvPr/>
        </p:nvCxnSpPr>
        <p:spPr>
          <a:xfrm flipV="1">
            <a:off x="5296597" y="2510820"/>
            <a:ext cx="575930" cy="743137"/>
          </a:xfrm>
          <a:prstGeom prst="line">
            <a:avLst/>
          </a:prstGeom>
          <a:ln w="28575">
            <a:solidFill>
              <a:schemeClr val="accent4">
                <a:lumMod val="75000"/>
              </a:schemeClr>
            </a:solidFill>
          </a:ln>
        </p:spPr>
        <p:style>
          <a:lnRef idx="1">
            <a:schemeClr val="accent2"/>
          </a:lnRef>
          <a:fillRef idx="0">
            <a:schemeClr val="accent2"/>
          </a:fillRef>
          <a:effectRef idx="0">
            <a:schemeClr val="accent2"/>
          </a:effectRef>
          <a:fontRef idx="minor">
            <a:schemeClr val="tx1"/>
          </a:fontRef>
        </p:style>
      </p:cxnSp>
      <p:grpSp>
        <p:nvGrpSpPr>
          <p:cNvPr id="24" name="Group 23">
            <a:extLst>
              <a:ext uri="{FF2B5EF4-FFF2-40B4-BE49-F238E27FC236}">
                <a16:creationId xmlns:a16="http://schemas.microsoft.com/office/drawing/2014/main" id="{C399C191-042E-1FD8-BFDA-F5AA766F1EC4}"/>
              </a:ext>
            </a:extLst>
          </p:cNvPr>
          <p:cNvGrpSpPr/>
          <p:nvPr/>
        </p:nvGrpSpPr>
        <p:grpSpPr>
          <a:xfrm>
            <a:off x="903461" y="3103307"/>
            <a:ext cx="7167236" cy="1028700"/>
            <a:chOff x="903461" y="3071812"/>
            <a:chExt cx="7167236" cy="1028700"/>
          </a:xfrm>
        </p:grpSpPr>
        <p:sp>
          <p:nvSpPr>
            <p:cNvPr id="4" name="Oval 3">
              <a:extLst>
                <a:ext uri="{FF2B5EF4-FFF2-40B4-BE49-F238E27FC236}">
                  <a16:creationId xmlns:a16="http://schemas.microsoft.com/office/drawing/2014/main" id="{CA99A70B-024A-0B9C-985E-85085141027C}"/>
                </a:ext>
              </a:extLst>
            </p:cNvPr>
            <p:cNvSpPr/>
            <p:nvPr/>
          </p:nvSpPr>
          <p:spPr>
            <a:xfrm>
              <a:off x="903461" y="3071812"/>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900A1D58-2BCF-6382-5B09-B9763B28FE05}"/>
                </a:ext>
              </a:extLst>
            </p:cNvPr>
            <p:cNvCxnSpPr>
              <a:cxnSpLocks/>
            </p:cNvCxnSpPr>
            <p:nvPr/>
          </p:nvCxnSpPr>
          <p:spPr>
            <a:xfrm flipH="1">
              <a:off x="1932161" y="3586162"/>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9A850A74-6E57-A9F0-F01E-2CC27B6E2834}"/>
                </a:ext>
              </a:extLst>
            </p:cNvPr>
            <p:cNvCxnSpPr>
              <a:cxnSpLocks/>
            </p:cNvCxnSpPr>
            <p:nvPr/>
          </p:nvCxnSpPr>
          <p:spPr>
            <a:xfrm flipH="1">
              <a:off x="3689704" y="3586162"/>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F1764F8B-5375-CC37-5986-BA8DF18168AE}"/>
                </a:ext>
              </a:extLst>
            </p:cNvPr>
            <p:cNvCxnSpPr>
              <a:cxnSpLocks/>
            </p:cNvCxnSpPr>
            <p:nvPr/>
          </p:nvCxnSpPr>
          <p:spPr>
            <a:xfrm flipH="1">
              <a:off x="5447247" y="3586162"/>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ECF4D707-F382-BB27-FCFA-79D8ABDA3D86}"/>
                </a:ext>
              </a:extLst>
            </p:cNvPr>
            <p:cNvSpPr txBox="1"/>
            <p:nvPr/>
          </p:nvSpPr>
          <p:spPr>
            <a:xfrm>
              <a:off x="7408336" y="3401496"/>
              <a:ext cx="662361" cy="369332"/>
            </a:xfrm>
            <a:prstGeom prst="rect">
              <a:avLst/>
            </a:prstGeom>
            <a:noFill/>
          </p:spPr>
          <p:txBody>
            <a:bodyPr wrap="none" rtlCol="0">
              <a:spAutoFit/>
            </a:bodyPr>
            <a:lstStyle/>
            <a:p>
              <a:r>
                <a:rPr lang="en-US" dirty="0"/>
                <a:t>Main</a:t>
              </a:r>
            </a:p>
          </p:txBody>
        </p:sp>
        <p:sp>
          <p:nvSpPr>
            <p:cNvPr id="7" name="Oval 6">
              <a:extLst>
                <a:ext uri="{FF2B5EF4-FFF2-40B4-BE49-F238E27FC236}">
                  <a16:creationId xmlns:a16="http://schemas.microsoft.com/office/drawing/2014/main" id="{CC99C95B-355E-6F5F-2FEC-E993C18DEE37}"/>
                </a:ext>
              </a:extLst>
            </p:cNvPr>
            <p:cNvSpPr/>
            <p:nvPr/>
          </p:nvSpPr>
          <p:spPr>
            <a:xfrm>
              <a:off x="4418547" y="3071812"/>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17C617AC-96D3-143A-35C0-BC4392352977}"/>
                </a:ext>
              </a:extLst>
            </p:cNvPr>
            <p:cNvSpPr/>
            <p:nvPr/>
          </p:nvSpPr>
          <p:spPr>
            <a:xfrm>
              <a:off x="2661004" y="3071812"/>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4572541C-30D1-B721-FB18-4ACE8A9DC211}"/>
                </a:ext>
              </a:extLst>
            </p:cNvPr>
            <p:cNvSpPr/>
            <p:nvPr/>
          </p:nvSpPr>
          <p:spPr>
            <a:xfrm>
              <a:off x="6176089" y="3071812"/>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AC5CF42B-D974-8E42-6DC2-15769205E079}"/>
              </a:ext>
            </a:extLst>
          </p:cNvPr>
          <p:cNvGrpSpPr/>
          <p:nvPr/>
        </p:nvGrpSpPr>
        <p:grpSpPr>
          <a:xfrm>
            <a:off x="5760769" y="1783467"/>
            <a:ext cx="2786243" cy="1028700"/>
            <a:chOff x="5760769" y="1783467"/>
            <a:chExt cx="2786243" cy="1028700"/>
          </a:xfrm>
        </p:grpSpPr>
        <p:sp>
          <p:nvSpPr>
            <p:cNvPr id="14" name="Oval 13">
              <a:extLst>
                <a:ext uri="{FF2B5EF4-FFF2-40B4-BE49-F238E27FC236}">
                  <a16:creationId xmlns:a16="http://schemas.microsoft.com/office/drawing/2014/main" id="{DA48C2CE-BE97-BFE6-FE51-BE3FDD613B64}"/>
                </a:ext>
              </a:extLst>
            </p:cNvPr>
            <p:cNvSpPr/>
            <p:nvPr/>
          </p:nvSpPr>
          <p:spPr>
            <a:xfrm>
              <a:off x="5760769" y="1783467"/>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844BB6D6-95C6-6FBF-02F1-D345BF5E2892}"/>
                </a:ext>
              </a:extLst>
            </p:cNvPr>
            <p:cNvCxnSpPr>
              <a:cxnSpLocks/>
            </p:cNvCxnSpPr>
            <p:nvPr/>
          </p:nvCxnSpPr>
          <p:spPr>
            <a:xfrm flipH="1">
              <a:off x="6789469" y="2297817"/>
              <a:ext cx="728843" cy="0"/>
            </a:xfrm>
            <a:prstGeom prst="line">
              <a:avLst/>
            </a:prstGeom>
            <a:ln w="28575">
              <a:solidFill>
                <a:schemeClr val="accent4">
                  <a:lumMod val="75000"/>
                </a:schemeClr>
              </a:solidFill>
            </a:ln>
          </p:spPr>
          <p:style>
            <a:lnRef idx="1">
              <a:schemeClr val="dk1"/>
            </a:lnRef>
            <a:fillRef idx="0">
              <a:schemeClr val="dk1"/>
            </a:fillRef>
            <a:effectRef idx="0">
              <a:schemeClr val="dk1"/>
            </a:effectRef>
            <a:fontRef idx="minor">
              <a:schemeClr val="tx1"/>
            </a:fontRef>
          </p:style>
        </p:cxnSp>
        <p:sp>
          <p:nvSpPr>
            <p:cNvPr id="16" name="Oval 15">
              <a:extLst>
                <a:ext uri="{FF2B5EF4-FFF2-40B4-BE49-F238E27FC236}">
                  <a16:creationId xmlns:a16="http://schemas.microsoft.com/office/drawing/2014/main" id="{C6DB0DA9-1EC8-CF26-7A5B-43BD43A9900B}"/>
                </a:ext>
              </a:extLst>
            </p:cNvPr>
            <p:cNvSpPr/>
            <p:nvPr/>
          </p:nvSpPr>
          <p:spPr>
            <a:xfrm>
              <a:off x="7518312" y="1783467"/>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Oval 17">
            <a:extLst>
              <a:ext uri="{FF2B5EF4-FFF2-40B4-BE49-F238E27FC236}">
                <a16:creationId xmlns:a16="http://schemas.microsoft.com/office/drawing/2014/main" id="{49AE6B51-8936-54A9-2A4C-9EEECC22FEEB}"/>
              </a:ext>
            </a:extLst>
          </p:cNvPr>
          <p:cNvSpPr/>
          <p:nvPr/>
        </p:nvSpPr>
        <p:spPr>
          <a:xfrm>
            <a:off x="4011551" y="4322568"/>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7E73FD33-A809-EA08-338F-3CFD6735623C}"/>
              </a:ext>
            </a:extLst>
          </p:cNvPr>
          <p:cNvSpPr txBox="1"/>
          <p:nvPr/>
        </p:nvSpPr>
        <p:spPr>
          <a:xfrm>
            <a:off x="8667362" y="2113151"/>
            <a:ext cx="1083951" cy="369332"/>
          </a:xfrm>
          <a:prstGeom prst="rect">
            <a:avLst/>
          </a:prstGeom>
          <a:noFill/>
        </p:spPr>
        <p:txBody>
          <a:bodyPr wrap="none" rtlCol="0">
            <a:spAutoFit/>
          </a:bodyPr>
          <a:lstStyle/>
          <a:p>
            <a:r>
              <a:rPr lang="en-US" dirty="0"/>
              <a:t>Branch 1</a:t>
            </a:r>
          </a:p>
        </p:txBody>
      </p:sp>
      <p:sp>
        <p:nvSpPr>
          <p:cNvPr id="29" name="TextBox 28">
            <a:extLst>
              <a:ext uri="{FF2B5EF4-FFF2-40B4-BE49-F238E27FC236}">
                <a16:creationId xmlns:a16="http://schemas.microsoft.com/office/drawing/2014/main" id="{8A54521E-1CD7-DA12-0370-B1FD6FC8EB57}"/>
              </a:ext>
            </a:extLst>
          </p:cNvPr>
          <p:cNvSpPr txBox="1"/>
          <p:nvPr/>
        </p:nvSpPr>
        <p:spPr>
          <a:xfrm>
            <a:off x="5122596" y="4650571"/>
            <a:ext cx="1083951" cy="369332"/>
          </a:xfrm>
          <a:prstGeom prst="rect">
            <a:avLst/>
          </a:prstGeom>
          <a:noFill/>
        </p:spPr>
        <p:txBody>
          <a:bodyPr wrap="none" rtlCol="0">
            <a:spAutoFit/>
          </a:bodyPr>
          <a:lstStyle/>
          <a:p>
            <a:r>
              <a:rPr lang="en-US" dirty="0"/>
              <a:t>Branch 2</a:t>
            </a:r>
          </a:p>
        </p:txBody>
      </p:sp>
    </p:spTree>
    <p:extLst>
      <p:ext uri="{BB962C8B-B14F-4D97-AF65-F5344CB8AC3E}">
        <p14:creationId xmlns:p14="http://schemas.microsoft.com/office/powerpoint/2010/main" val="2115727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7" grpId="0" animBg="1"/>
      <p:bldP spid="18" grpId="0" animBg="1"/>
      <p:bldP spid="28" grpId="0"/>
      <p:bldP spid="2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93567-EEEF-18BB-22F1-6C0F84BA247F}"/>
              </a:ext>
            </a:extLst>
          </p:cNvPr>
          <p:cNvSpPr>
            <a:spLocks noGrp="1"/>
          </p:cNvSpPr>
          <p:nvPr>
            <p:ph type="title"/>
          </p:nvPr>
        </p:nvSpPr>
        <p:spPr/>
        <p:txBody>
          <a:bodyPr/>
          <a:lstStyle/>
          <a:p>
            <a:r>
              <a:rPr lang="en-US" dirty="0"/>
              <a:t>Exercise 2: Branching </a:t>
            </a:r>
          </a:p>
        </p:txBody>
      </p:sp>
      <p:sp>
        <p:nvSpPr>
          <p:cNvPr id="3" name="Content Placeholder 2">
            <a:extLst>
              <a:ext uri="{FF2B5EF4-FFF2-40B4-BE49-F238E27FC236}">
                <a16:creationId xmlns:a16="http://schemas.microsoft.com/office/drawing/2014/main" id="{EDC0499F-2EE5-B048-FA07-B4422148459A}"/>
              </a:ext>
            </a:extLst>
          </p:cNvPr>
          <p:cNvSpPr>
            <a:spLocks noGrp="1"/>
          </p:cNvSpPr>
          <p:nvPr>
            <p:ph idx="1"/>
          </p:nvPr>
        </p:nvSpPr>
        <p:spPr/>
        <p:txBody>
          <a:bodyPr>
            <a:normAutofit/>
          </a:bodyPr>
          <a:lstStyle/>
          <a:p>
            <a:r>
              <a:rPr lang="en-US" sz="2400" dirty="0"/>
              <a:t>Go to the App and work through Q1 and Q2 in the branching section </a:t>
            </a:r>
          </a:p>
          <a:p>
            <a:r>
              <a:rPr lang="en-US" sz="2400" dirty="0"/>
              <a:t>We will be available for help if you need it, just ask your questions in the chat box </a:t>
            </a:r>
          </a:p>
          <a:p>
            <a:r>
              <a:rPr lang="en-US" sz="2400" dirty="0"/>
              <a:t>We will resume in 10 min</a:t>
            </a:r>
          </a:p>
        </p:txBody>
      </p:sp>
    </p:spTree>
    <p:extLst>
      <p:ext uri="{BB962C8B-B14F-4D97-AF65-F5344CB8AC3E}">
        <p14:creationId xmlns:p14="http://schemas.microsoft.com/office/powerpoint/2010/main" val="3562983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23A9961F-9912-E411-A31E-363EEBF64818}"/>
              </a:ext>
            </a:extLst>
          </p:cNvPr>
          <p:cNvCxnSpPr>
            <a:cxnSpLocks/>
            <a:stCxn id="8" idx="3"/>
          </p:cNvCxnSpPr>
          <p:nvPr/>
        </p:nvCxnSpPr>
        <p:spPr>
          <a:xfrm flipH="1">
            <a:off x="4161372" y="4464675"/>
            <a:ext cx="665000" cy="803022"/>
          </a:xfrm>
          <a:prstGeom prst="line">
            <a:avLst/>
          </a:prstGeom>
          <a:ln w="28575"/>
        </p:spPr>
        <p:style>
          <a:lnRef idx="1">
            <a:schemeClr val="accent4"/>
          </a:lnRef>
          <a:fillRef idx="0">
            <a:schemeClr val="accent4"/>
          </a:fillRef>
          <a:effectRef idx="0">
            <a:schemeClr val="accent4"/>
          </a:effectRef>
          <a:fontRef idx="minor">
            <a:schemeClr val="tx1"/>
          </a:fontRef>
        </p:style>
      </p:cxnSp>
      <p:sp>
        <p:nvSpPr>
          <p:cNvPr id="2" name="Title 1">
            <a:extLst>
              <a:ext uri="{FF2B5EF4-FFF2-40B4-BE49-F238E27FC236}">
                <a16:creationId xmlns:a16="http://schemas.microsoft.com/office/drawing/2014/main" id="{83E7B938-00C5-E5EA-C272-56F365C0CCDD}"/>
              </a:ext>
            </a:extLst>
          </p:cNvPr>
          <p:cNvSpPr>
            <a:spLocks noGrp="1"/>
          </p:cNvSpPr>
          <p:nvPr>
            <p:ph type="title"/>
          </p:nvPr>
        </p:nvSpPr>
        <p:spPr/>
        <p:txBody>
          <a:bodyPr/>
          <a:lstStyle/>
          <a:p>
            <a:r>
              <a:rPr lang="en-US" dirty="0"/>
              <a:t>What we did in the exercise </a:t>
            </a:r>
          </a:p>
        </p:txBody>
      </p:sp>
      <p:sp>
        <p:nvSpPr>
          <p:cNvPr id="3" name="Content Placeholder 2">
            <a:extLst>
              <a:ext uri="{FF2B5EF4-FFF2-40B4-BE49-F238E27FC236}">
                <a16:creationId xmlns:a16="http://schemas.microsoft.com/office/drawing/2014/main" id="{09B6A362-5DD5-6EFA-E47C-7D50A358643B}"/>
              </a:ext>
            </a:extLst>
          </p:cNvPr>
          <p:cNvSpPr>
            <a:spLocks noGrp="1"/>
          </p:cNvSpPr>
          <p:nvPr>
            <p:ph idx="1"/>
          </p:nvPr>
        </p:nvSpPr>
        <p:spPr/>
        <p:txBody>
          <a:bodyPr>
            <a:normAutofit/>
          </a:bodyPr>
          <a:lstStyle/>
          <a:p>
            <a:r>
              <a:rPr lang="en-US" sz="2400" dirty="0"/>
              <a:t>Made a branch</a:t>
            </a:r>
          </a:p>
          <a:p>
            <a:r>
              <a:rPr lang="en-US" sz="2400" dirty="0"/>
              <a:t>Committed to the new branch</a:t>
            </a:r>
          </a:p>
          <a:p>
            <a:r>
              <a:rPr lang="en-US" sz="2400" dirty="0"/>
              <a:t>“checked-out” different branches</a:t>
            </a:r>
          </a:p>
        </p:txBody>
      </p:sp>
      <p:sp>
        <p:nvSpPr>
          <p:cNvPr id="4" name="Oval 3">
            <a:extLst>
              <a:ext uri="{FF2B5EF4-FFF2-40B4-BE49-F238E27FC236}">
                <a16:creationId xmlns:a16="http://schemas.microsoft.com/office/drawing/2014/main" id="{CB778EAB-827E-6C88-60E4-21C3BC2E7F02}"/>
              </a:ext>
            </a:extLst>
          </p:cNvPr>
          <p:cNvSpPr/>
          <p:nvPr/>
        </p:nvSpPr>
        <p:spPr>
          <a:xfrm>
            <a:off x="1674986" y="5136462"/>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FC18DA5F-5C58-3E5D-51BC-F5918E638A40}"/>
              </a:ext>
            </a:extLst>
          </p:cNvPr>
          <p:cNvGrpSpPr/>
          <p:nvPr/>
        </p:nvGrpSpPr>
        <p:grpSpPr>
          <a:xfrm>
            <a:off x="2703686" y="5136462"/>
            <a:ext cx="5272628" cy="1028700"/>
            <a:chOff x="2703686" y="4236341"/>
            <a:chExt cx="5272628" cy="1028700"/>
          </a:xfrm>
        </p:grpSpPr>
        <p:cxnSp>
          <p:nvCxnSpPr>
            <p:cNvPr id="12" name="Straight Connector 11">
              <a:extLst>
                <a:ext uri="{FF2B5EF4-FFF2-40B4-BE49-F238E27FC236}">
                  <a16:creationId xmlns:a16="http://schemas.microsoft.com/office/drawing/2014/main" id="{CFD9C256-EED8-D2E4-755F-4F482292D385}"/>
                </a:ext>
              </a:extLst>
            </p:cNvPr>
            <p:cNvCxnSpPr>
              <a:cxnSpLocks/>
            </p:cNvCxnSpPr>
            <p:nvPr/>
          </p:nvCxnSpPr>
          <p:spPr>
            <a:xfrm flipH="1">
              <a:off x="6218772" y="4754408"/>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5" name="Oval 4">
              <a:extLst>
                <a:ext uri="{FF2B5EF4-FFF2-40B4-BE49-F238E27FC236}">
                  <a16:creationId xmlns:a16="http://schemas.microsoft.com/office/drawing/2014/main" id="{1922CE9F-33E9-C3A7-DAD4-C2253AE2A7C7}"/>
                </a:ext>
              </a:extLst>
            </p:cNvPr>
            <p:cNvSpPr/>
            <p:nvPr/>
          </p:nvSpPr>
          <p:spPr>
            <a:xfrm>
              <a:off x="3432529" y="423634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9010A576-5359-516C-01F3-D04A4737801D}"/>
                </a:ext>
              </a:extLst>
            </p:cNvPr>
            <p:cNvSpPr/>
            <p:nvPr/>
          </p:nvSpPr>
          <p:spPr>
            <a:xfrm>
              <a:off x="6947614" y="423634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90EB0940-80C9-C11B-49DA-039647E0C2FF}"/>
                </a:ext>
              </a:extLst>
            </p:cNvPr>
            <p:cNvCxnSpPr>
              <a:cxnSpLocks/>
            </p:cNvCxnSpPr>
            <p:nvPr/>
          </p:nvCxnSpPr>
          <p:spPr>
            <a:xfrm flipH="1">
              <a:off x="2703686" y="4754408"/>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C0E446D1-8136-694E-A081-6A74DF985834}"/>
                </a:ext>
              </a:extLst>
            </p:cNvPr>
            <p:cNvCxnSpPr>
              <a:cxnSpLocks/>
            </p:cNvCxnSpPr>
            <p:nvPr/>
          </p:nvCxnSpPr>
          <p:spPr>
            <a:xfrm flipH="1">
              <a:off x="4461229" y="4754408"/>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6" name="Oval 5">
              <a:extLst>
                <a:ext uri="{FF2B5EF4-FFF2-40B4-BE49-F238E27FC236}">
                  <a16:creationId xmlns:a16="http://schemas.microsoft.com/office/drawing/2014/main" id="{DACAE024-A0F5-805C-53A3-E6352A018E39}"/>
                </a:ext>
              </a:extLst>
            </p:cNvPr>
            <p:cNvSpPr/>
            <p:nvPr/>
          </p:nvSpPr>
          <p:spPr>
            <a:xfrm>
              <a:off x="5190072" y="423634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Oval 14">
            <a:extLst>
              <a:ext uri="{FF2B5EF4-FFF2-40B4-BE49-F238E27FC236}">
                <a16:creationId xmlns:a16="http://schemas.microsoft.com/office/drawing/2014/main" id="{66186FAB-5257-E5F8-A04D-F9E1BAB3F8CF}"/>
              </a:ext>
            </a:extLst>
          </p:cNvPr>
          <p:cNvSpPr/>
          <p:nvPr/>
        </p:nvSpPr>
        <p:spPr>
          <a:xfrm>
            <a:off x="3432529" y="5136462"/>
            <a:ext cx="1028700" cy="1028700"/>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37D9A6DA-F8EE-F65B-9C9E-34DC467FF1F7}"/>
              </a:ext>
            </a:extLst>
          </p:cNvPr>
          <p:cNvSpPr/>
          <p:nvPr/>
        </p:nvSpPr>
        <p:spPr>
          <a:xfrm>
            <a:off x="4675722" y="3586625"/>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619C124C-1906-2347-156E-C6AF89C59082}"/>
              </a:ext>
            </a:extLst>
          </p:cNvPr>
          <p:cNvSpPr/>
          <p:nvPr/>
        </p:nvSpPr>
        <p:spPr>
          <a:xfrm>
            <a:off x="4675722" y="3586625"/>
            <a:ext cx="1028700" cy="1028700"/>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408548F4-C1F5-4FBB-462A-4F99EBB487E7}"/>
              </a:ext>
            </a:extLst>
          </p:cNvPr>
          <p:cNvSpPr/>
          <p:nvPr/>
        </p:nvSpPr>
        <p:spPr>
          <a:xfrm>
            <a:off x="6945143" y="5134211"/>
            <a:ext cx="1028700" cy="1028700"/>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8356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animBg="1"/>
      <p:bldP spid="14" grpId="1" animBg="1"/>
      <p:bldP spid="2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D7D99-9981-2EF2-7EC7-D8501344AF98}"/>
              </a:ext>
            </a:extLst>
          </p:cNvPr>
          <p:cNvSpPr>
            <a:spLocks noGrp="1"/>
          </p:cNvSpPr>
          <p:nvPr>
            <p:ph type="title"/>
          </p:nvPr>
        </p:nvSpPr>
        <p:spPr/>
        <p:txBody>
          <a:bodyPr/>
          <a:lstStyle/>
          <a:p>
            <a:r>
              <a:rPr lang="en-US" dirty="0"/>
              <a:t>Merging</a:t>
            </a:r>
          </a:p>
        </p:txBody>
      </p:sp>
      <p:sp>
        <p:nvSpPr>
          <p:cNvPr id="27" name="Rectangle 26">
            <a:extLst>
              <a:ext uri="{FF2B5EF4-FFF2-40B4-BE49-F238E27FC236}">
                <a16:creationId xmlns:a16="http://schemas.microsoft.com/office/drawing/2014/main" id="{A277CB6D-AEE6-FFCD-8D03-761D5798894B}"/>
              </a:ext>
            </a:extLst>
          </p:cNvPr>
          <p:cNvSpPr/>
          <p:nvPr/>
        </p:nvSpPr>
        <p:spPr>
          <a:xfrm>
            <a:off x="8142137" y="4092084"/>
            <a:ext cx="1687664" cy="1152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C5FDA388-379E-50F5-AB1F-E587AD806B41}"/>
              </a:ext>
            </a:extLst>
          </p:cNvPr>
          <p:cNvSpPr/>
          <p:nvPr/>
        </p:nvSpPr>
        <p:spPr>
          <a:xfrm>
            <a:off x="5307221" y="2610400"/>
            <a:ext cx="4164901" cy="1152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E25FA77A-D092-4959-D9D9-6E63890C2674}"/>
              </a:ext>
            </a:extLst>
          </p:cNvPr>
          <p:cNvSpPr/>
          <p:nvPr/>
        </p:nvSpPr>
        <p:spPr>
          <a:xfrm>
            <a:off x="442913" y="4092084"/>
            <a:ext cx="7727799" cy="1152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BC533D73-A6C8-F60C-3FD1-3613AF25FD78}"/>
              </a:ext>
            </a:extLst>
          </p:cNvPr>
          <p:cNvCxnSpPr>
            <a:cxnSpLocks/>
            <a:stCxn id="12" idx="0"/>
          </p:cNvCxnSpPr>
          <p:nvPr/>
        </p:nvCxnSpPr>
        <p:spPr>
          <a:xfrm flipV="1">
            <a:off x="5191977" y="3382067"/>
            <a:ext cx="462319" cy="771667"/>
          </a:xfrm>
          <a:prstGeom prst="line">
            <a:avLst/>
          </a:prstGeom>
          <a:ln w="28575">
            <a:solidFill>
              <a:schemeClr val="accent4">
                <a:lumMod val="75000"/>
              </a:schemeClr>
            </a:solidFill>
          </a:ln>
        </p:spPr>
        <p:style>
          <a:lnRef idx="1">
            <a:schemeClr val="accent2"/>
          </a:lnRef>
          <a:fillRef idx="0">
            <a:schemeClr val="accent2"/>
          </a:fillRef>
          <a:effectRef idx="0">
            <a:schemeClr val="accent2"/>
          </a:effectRef>
          <a:fontRef idx="minor">
            <a:schemeClr val="tx1"/>
          </a:fontRef>
        </p:style>
      </p:cxnSp>
      <p:sp>
        <p:nvSpPr>
          <p:cNvPr id="10" name="Oval 9">
            <a:extLst>
              <a:ext uri="{FF2B5EF4-FFF2-40B4-BE49-F238E27FC236}">
                <a16:creationId xmlns:a16="http://schemas.microsoft.com/office/drawing/2014/main" id="{5C849033-4D16-5BF6-400F-9F8A400CF830}"/>
              </a:ext>
            </a:extLst>
          </p:cNvPr>
          <p:cNvSpPr/>
          <p:nvPr/>
        </p:nvSpPr>
        <p:spPr>
          <a:xfrm>
            <a:off x="1162541" y="4153734"/>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2DE19750-9840-A7E0-3105-BB7FCB5B7CCE}"/>
              </a:ext>
            </a:extLst>
          </p:cNvPr>
          <p:cNvSpPr/>
          <p:nvPr/>
        </p:nvSpPr>
        <p:spPr>
          <a:xfrm>
            <a:off x="2920084" y="4153734"/>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8A684C43-B1D9-69DB-9DE6-F2DCA08172E1}"/>
              </a:ext>
            </a:extLst>
          </p:cNvPr>
          <p:cNvSpPr/>
          <p:nvPr/>
        </p:nvSpPr>
        <p:spPr>
          <a:xfrm>
            <a:off x="6435169" y="4153734"/>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55283D93-D6C6-E4DF-EEA8-2875BF5E2A2C}"/>
              </a:ext>
            </a:extLst>
          </p:cNvPr>
          <p:cNvCxnSpPr>
            <a:cxnSpLocks/>
          </p:cNvCxnSpPr>
          <p:nvPr/>
        </p:nvCxnSpPr>
        <p:spPr>
          <a:xfrm flipH="1">
            <a:off x="2191241" y="4668084"/>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48AE11EE-7ECE-434A-E971-4D715DA0179F}"/>
              </a:ext>
            </a:extLst>
          </p:cNvPr>
          <p:cNvCxnSpPr>
            <a:cxnSpLocks/>
          </p:cNvCxnSpPr>
          <p:nvPr/>
        </p:nvCxnSpPr>
        <p:spPr>
          <a:xfrm flipH="1">
            <a:off x="3948784" y="4668084"/>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8FD886E3-B91F-2B5D-FD9D-3EF57AC3C6E0}"/>
              </a:ext>
            </a:extLst>
          </p:cNvPr>
          <p:cNvCxnSpPr>
            <a:cxnSpLocks/>
          </p:cNvCxnSpPr>
          <p:nvPr/>
        </p:nvCxnSpPr>
        <p:spPr>
          <a:xfrm flipH="1">
            <a:off x="5706327" y="4668084"/>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00E6EE32-1108-09C5-0C6D-2EA00C6507A8}"/>
              </a:ext>
            </a:extLst>
          </p:cNvPr>
          <p:cNvSpPr txBox="1"/>
          <p:nvPr/>
        </p:nvSpPr>
        <p:spPr>
          <a:xfrm>
            <a:off x="408075" y="4874752"/>
            <a:ext cx="662361" cy="369332"/>
          </a:xfrm>
          <a:prstGeom prst="rect">
            <a:avLst/>
          </a:prstGeom>
          <a:noFill/>
        </p:spPr>
        <p:txBody>
          <a:bodyPr wrap="none" rtlCol="0">
            <a:spAutoFit/>
          </a:bodyPr>
          <a:lstStyle/>
          <a:p>
            <a:r>
              <a:rPr lang="en-US" dirty="0"/>
              <a:t>Main</a:t>
            </a:r>
          </a:p>
        </p:txBody>
      </p:sp>
      <p:grpSp>
        <p:nvGrpSpPr>
          <p:cNvPr id="18" name="Group 17">
            <a:extLst>
              <a:ext uri="{FF2B5EF4-FFF2-40B4-BE49-F238E27FC236}">
                <a16:creationId xmlns:a16="http://schemas.microsoft.com/office/drawing/2014/main" id="{478C0130-36D3-C74D-FB38-48BAD9DBFD60}"/>
              </a:ext>
            </a:extLst>
          </p:cNvPr>
          <p:cNvGrpSpPr/>
          <p:nvPr/>
        </p:nvGrpSpPr>
        <p:grpSpPr>
          <a:xfrm>
            <a:off x="5542538" y="2654714"/>
            <a:ext cx="2786243" cy="1028700"/>
            <a:chOff x="5760769" y="1783467"/>
            <a:chExt cx="2786243" cy="1028700"/>
          </a:xfrm>
        </p:grpSpPr>
        <p:sp>
          <p:nvSpPr>
            <p:cNvPr id="19" name="Oval 18">
              <a:extLst>
                <a:ext uri="{FF2B5EF4-FFF2-40B4-BE49-F238E27FC236}">
                  <a16:creationId xmlns:a16="http://schemas.microsoft.com/office/drawing/2014/main" id="{D7563B29-C666-E276-B375-1819970E8C67}"/>
                </a:ext>
              </a:extLst>
            </p:cNvPr>
            <p:cNvSpPr/>
            <p:nvPr/>
          </p:nvSpPr>
          <p:spPr>
            <a:xfrm>
              <a:off x="5760769" y="1783467"/>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1CDA4D22-D585-A255-F9B4-165AFE26E60D}"/>
                </a:ext>
              </a:extLst>
            </p:cNvPr>
            <p:cNvCxnSpPr>
              <a:cxnSpLocks/>
            </p:cNvCxnSpPr>
            <p:nvPr/>
          </p:nvCxnSpPr>
          <p:spPr>
            <a:xfrm flipH="1">
              <a:off x="6789469" y="2297817"/>
              <a:ext cx="728843" cy="0"/>
            </a:xfrm>
            <a:prstGeom prst="line">
              <a:avLst/>
            </a:prstGeom>
            <a:ln w="28575">
              <a:solidFill>
                <a:schemeClr val="accent4">
                  <a:lumMod val="75000"/>
                </a:schemeClr>
              </a:solidFill>
            </a:ln>
          </p:spPr>
          <p:style>
            <a:lnRef idx="1">
              <a:schemeClr val="dk1"/>
            </a:lnRef>
            <a:fillRef idx="0">
              <a:schemeClr val="dk1"/>
            </a:fillRef>
            <a:effectRef idx="0">
              <a:schemeClr val="dk1"/>
            </a:effectRef>
            <a:fontRef idx="minor">
              <a:schemeClr val="tx1"/>
            </a:fontRef>
          </p:style>
        </p:cxnSp>
        <p:sp>
          <p:nvSpPr>
            <p:cNvPr id="20" name="Oval 19">
              <a:extLst>
                <a:ext uri="{FF2B5EF4-FFF2-40B4-BE49-F238E27FC236}">
                  <a16:creationId xmlns:a16="http://schemas.microsoft.com/office/drawing/2014/main" id="{28FE7B8B-A3EE-4861-9DD8-681B6F1862F1}"/>
                </a:ext>
              </a:extLst>
            </p:cNvPr>
            <p:cNvSpPr/>
            <p:nvPr/>
          </p:nvSpPr>
          <p:spPr>
            <a:xfrm>
              <a:off x="7518312" y="1783467"/>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TextBox 22">
            <a:extLst>
              <a:ext uri="{FF2B5EF4-FFF2-40B4-BE49-F238E27FC236}">
                <a16:creationId xmlns:a16="http://schemas.microsoft.com/office/drawing/2014/main" id="{0D83FFC1-5E48-CCD1-E976-4C21DD198891}"/>
              </a:ext>
            </a:extLst>
          </p:cNvPr>
          <p:cNvSpPr txBox="1"/>
          <p:nvPr/>
        </p:nvSpPr>
        <p:spPr>
          <a:xfrm>
            <a:off x="8449131" y="2984398"/>
            <a:ext cx="1083951" cy="369332"/>
          </a:xfrm>
          <a:prstGeom prst="rect">
            <a:avLst/>
          </a:prstGeom>
          <a:noFill/>
        </p:spPr>
        <p:txBody>
          <a:bodyPr wrap="none" rtlCol="0">
            <a:spAutoFit/>
          </a:bodyPr>
          <a:lstStyle/>
          <a:p>
            <a:r>
              <a:rPr lang="en-US" dirty="0"/>
              <a:t>Branch 1</a:t>
            </a:r>
          </a:p>
        </p:txBody>
      </p:sp>
      <p:cxnSp>
        <p:nvCxnSpPr>
          <p:cNvPr id="29" name="Straight Connector 28">
            <a:extLst>
              <a:ext uri="{FF2B5EF4-FFF2-40B4-BE49-F238E27FC236}">
                <a16:creationId xmlns:a16="http://schemas.microsoft.com/office/drawing/2014/main" id="{79CC3BE1-4720-48C1-BCCD-15C2C22C49BD}"/>
              </a:ext>
            </a:extLst>
          </p:cNvPr>
          <p:cNvCxnSpPr>
            <a:cxnSpLocks/>
          </p:cNvCxnSpPr>
          <p:nvPr/>
        </p:nvCxnSpPr>
        <p:spPr>
          <a:xfrm flipH="1" flipV="1">
            <a:off x="8257293" y="3421680"/>
            <a:ext cx="462319" cy="771667"/>
          </a:xfrm>
          <a:prstGeom prst="line">
            <a:avLst/>
          </a:prstGeom>
          <a:ln w="28575">
            <a:solidFill>
              <a:schemeClr val="accent4">
                <a:lumMod val="75000"/>
              </a:schemeClr>
            </a:solidFill>
          </a:ln>
        </p:spPr>
        <p:style>
          <a:lnRef idx="1">
            <a:schemeClr val="accent2"/>
          </a:lnRef>
          <a:fillRef idx="0">
            <a:schemeClr val="accent2"/>
          </a:fillRef>
          <a:effectRef idx="0">
            <a:schemeClr val="accent2"/>
          </a:effectRef>
          <a:fontRef idx="minor">
            <a:schemeClr val="tx1"/>
          </a:fontRef>
        </p:style>
      </p:cxnSp>
      <p:cxnSp>
        <p:nvCxnSpPr>
          <p:cNvPr id="30" name="Straight Connector 29">
            <a:extLst>
              <a:ext uri="{FF2B5EF4-FFF2-40B4-BE49-F238E27FC236}">
                <a16:creationId xmlns:a16="http://schemas.microsoft.com/office/drawing/2014/main" id="{8F16CF35-9EBE-2E82-9EBA-BBFC6FE11140}"/>
              </a:ext>
            </a:extLst>
          </p:cNvPr>
          <p:cNvCxnSpPr>
            <a:cxnSpLocks/>
            <a:stCxn id="28" idx="2"/>
          </p:cNvCxnSpPr>
          <p:nvPr/>
        </p:nvCxnSpPr>
        <p:spPr>
          <a:xfrm flipH="1">
            <a:off x="7463869" y="4668084"/>
            <a:ext cx="965923" cy="0"/>
          </a:xfrm>
          <a:prstGeom prst="line">
            <a:avLst/>
          </a:prstGeom>
          <a:ln w="28575"/>
        </p:spPr>
        <p:style>
          <a:lnRef idx="1">
            <a:schemeClr val="dk1"/>
          </a:lnRef>
          <a:fillRef idx="0">
            <a:schemeClr val="dk1"/>
          </a:fillRef>
          <a:effectRef idx="0">
            <a:schemeClr val="dk1"/>
          </a:effectRef>
          <a:fontRef idx="minor">
            <a:schemeClr val="tx1"/>
          </a:fontRef>
        </p:style>
      </p:cxnSp>
      <p:sp>
        <p:nvSpPr>
          <p:cNvPr id="28" name="Oval 27">
            <a:extLst>
              <a:ext uri="{FF2B5EF4-FFF2-40B4-BE49-F238E27FC236}">
                <a16:creationId xmlns:a16="http://schemas.microsoft.com/office/drawing/2014/main" id="{AF7FEE2E-A440-BD95-4477-DE624B3E5987}"/>
              </a:ext>
            </a:extLst>
          </p:cNvPr>
          <p:cNvSpPr/>
          <p:nvPr/>
        </p:nvSpPr>
        <p:spPr>
          <a:xfrm>
            <a:off x="8429792" y="4153734"/>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6C49AF7B-C313-4AA4-DD51-091C571DAA44}"/>
              </a:ext>
            </a:extLst>
          </p:cNvPr>
          <p:cNvSpPr/>
          <p:nvPr/>
        </p:nvSpPr>
        <p:spPr>
          <a:xfrm>
            <a:off x="4677627" y="4153734"/>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6E0BCE30-A5D3-39E7-5853-296F5DEDFA56}"/>
              </a:ext>
            </a:extLst>
          </p:cNvPr>
          <p:cNvSpPr/>
          <p:nvPr/>
        </p:nvSpPr>
        <p:spPr>
          <a:xfrm>
            <a:off x="6436115" y="4153734"/>
            <a:ext cx="1028700" cy="1028700"/>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A8101F4B-CB82-400A-3771-52E78C0E7856}"/>
              </a:ext>
            </a:extLst>
          </p:cNvPr>
          <p:cNvSpPr/>
          <p:nvPr/>
        </p:nvSpPr>
        <p:spPr>
          <a:xfrm>
            <a:off x="8435803" y="4159015"/>
            <a:ext cx="1028700" cy="1028700"/>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9685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0" presetClass="entr" presetSubtype="0"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1000"/>
                                        <p:tgtEl>
                                          <p:spTgt spid="29"/>
                                        </p:tgtEl>
                                      </p:cBhvr>
                                    </p:animEffect>
                                  </p:childTnLst>
                                </p:cTn>
                              </p:par>
                              <p:par>
                                <p:cTn id="16" presetID="10" presetClass="entr" presetSubtype="0" fill="hold"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1000"/>
                                        <p:tgtEl>
                                          <p:spTgt spid="30"/>
                                        </p:tgtEl>
                                      </p:cBhvr>
                                    </p:animEffec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xit"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3" grpId="0" animBg="1"/>
      <p:bldP spid="3" grpId="1" animBg="1"/>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D7D99-9981-2EF2-7EC7-D8501344AF98}"/>
              </a:ext>
            </a:extLst>
          </p:cNvPr>
          <p:cNvSpPr>
            <a:spLocks noGrp="1"/>
          </p:cNvSpPr>
          <p:nvPr>
            <p:ph type="title"/>
          </p:nvPr>
        </p:nvSpPr>
        <p:spPr/>
        <p:txBody>
          <a:bodyPr/>
          <a:lstStyle/>
          <a:p>
            <a:r>
              <a:rPr lang="en-US" dirty="0"/>
              <a:t>Merging</a:t>
            </a:r>
          </a:p>
        </p:txBody>
      </p:sp>
      <p:grpSp>
        <p:nvGrpSpPr>
          <p:cNvPr id="29" name="Group 28">
            <a:extLst>
              <a:ext uri="{FF2B5EF4-FFF2-40B4-BE49-F238E27FC236}">
                <a16:creationId xmlns:a16="http://schemas.microsoft.com/office/drawing/2014/main" id="{208CF55E-A3DE-8170-51DC-A5FC7C6826EF}"/>
              </a:ext>
            </a:extLst>
          </p:cNvPr>
          <p:cNvGrpSpPr/>
          <p:nvPr/>
        </p:nvGrpSpPr>
        <p:grpSpPr>
          <a:xfrm>
            <a:off x="7158292" y="630592"/>
            <a:ext cx="1342989" cy="1304396"/>
            <a:chOff x="8447460" y="415396"/>
            <a:chExt cx="1342989" cy="1304396"/>
          </a:xfrm>
        </p:grpSpPr>
        <p:sp>
          <p:nvSpPr>
            <p:cNvPr id="27" name="Content Placeholder 4" descr="Fencing with solid fill">
              <a:extLst>
                <a:ext uri="{FF2B5EF4-FFF2-40B4-BE49-F238E27FC236}">
                  <a16:creationId xmlns:a16="http://schemas.microsoft.com/office/drawing/2014/main" id="{8B4EB98C-A5E9-5284-B7DC-64BA5662189F}"/>
                </a:ext>
              </a:extLst>
            </p:cNvPr>
            <p:cNvSpPr/>
            <p:nvPr/>
          </p:nvSpPr>
          <p:spPr>
            <a:xfrm>
              <a:off x="8447460" y="415396"/>
              <a:ext cx="1342989" cy="1304396"/>
            </a:xfrm>
            <a:custGeom>
              <a:avLst/>
              <a:gdLst>
                <a:gd name="connsiteX0" fmla="*/ 1329422 w 1342989"/>
                <a:gd name="connsiteY0" fmla="*/ 1213076 h 1304396"/>
                <a:gd name="connsiteX1" fmla="*/ 1141512 w 1342989"/>
                <a:gd name="connsiteY1" fmla="*/ 1025165 h 1304396"/>
                <a:gd name="connsiteX2" fmla="*/ 1222296 w 1342989"/>
                <a:gd name="connsiteY2" fmla="*/ 944381 h 1304396"/>
                <a:gd name="connsiteX3" fmla="*/ 1222296 w 1342989"/>
                <a:gd name="connsiteY3" fmla="*/ 907502 h 1304396"/>
                <a:gd name="connsiteX4" fmla="*/ 1211759 w 1342989"/>
                <a:gd name="connsiteY4" fmla="*/ 900477 h 1304396"/>
                <a:gd name="connsiteX5" fmla="*/ 1027361 w 1342989"/>
                <a:gd name="connsiteY5" fmla="*/ 933844 h 1304396"/>
                <a:gd name="connsiteX6" fmla="*/ 720031 w 1342989"/>
                <a:gd name="connsiteY6" fmla="*/ 633539 h 1304396"/>
                <a:gd name="connsiteX7" fmla="*/ 1299567 w 1342989"/>
                <a:gd name="connsiteY7" fmla="*/ 38197 h 1304396"/>
                <a:gd name="connsiteX8" fmla="*/ 1299567 w 1342989"/>
                <a:gd name="connsiteY8" fmla="*/ 6586 h 1304396"/>
                <a:gd name="connsiteX9" fmla="*/ 1267956 w 1342989"/>
                <a:gd name="connsiteY9" fmla="*/ 6586 h 1304396"/>
                <a:gd name="connsiteX10" fmla="*/ 672614 w 1342989"/>
                <a:gd name="connsiteY10" fmla="*/ 587879 h 1304396"/>
                <a:gd name="connsiteX11" fmla="*/ 77272 w 1342989"/>
                <a:gd name="connsiteY11" fmla="*/ 6586 h 1304396"/>
                <a:gd name="connsiteX12" fmla="*/ 45660 w 1342989"/>
                <a:gd name="connsiteY12" fmla="*/ 8342 h 1304396"/>
                <a:gd name="connsiteX13" fmla="*/ 45660 w 1342989"/>
                <a:gd name="connsiteY13" fmla="*/ 38197 h 1304396"/>
                <a:gd name="connsiteX14" fmla="*/ 625197 w 1342989"/>
                <a:gd name="connsiteY14" fmla="*/ 633539 h 1304396"/>
                <a:gd name="connsiteX15" fmla="*/ 317867 w 1342989"/>
                <a:gd name="connsiteY15" fmla="*/ 933844 h 1304396"/>
                <a:gd name="connsiteX16" fmla="*/ 133469 w 1342989"/>
                <a:gd name="connsiteY16" fmla="*/ 900477 h 1304396"/>
                <a:gd name="connsiteX17" fmla="*/ 115907 w 1342989"/>
                <a:gd name="connsiteY17" fmla="*/ 933844 h 1304396"/>
                <a:gd name="connsiteX18" fmla="*/ 122932 w 1342989"/>
                <a:gd name="connsiteY18" fmla="*/ 944381 h 1304396"/>
                <a:gd name="connsiteX19" fmla="*/ 203716 w 1342989"/>
                <a:gd name="connsiteY19" fmla="*/ 1025165 h 1304396"/>
                <a:gd name="connsiteX20" fmla="*/ 15806 w 1342989"/>
                <a:gd name="connsiteY20" fmla="*/ 1213076 h 1304396"/>
                <a:gd name="connsiteX21" fmla="*/ 15806 w 1342989"/>
                <a:gd name="connsiteY21" fmla="*/ 1286835 h 1304396"/>
                <a:gd name="connsiteX22" fmla="*/ 89565 w 1342989"/>
                <a:gd name="connsiteY22" fmla="*/ 1286835 h 1304396"/>
                <a:gd name="connsiteX23" fmla="*/ 89565 w 1342989"/>
                <a:gd name="connsiteY23" fmla="*/ 1286835 h 1304396"/>
                <a:gd name="connsiteX24" fmla="*/ 103614 w 1342989"/>
                <a:gd name="connsiteY24" fmla="*/ 1272786 h 1304396"/>
                <a:gd name="connsiteX25" fmla="*/ 374065 w 1342989"/>
                <a:gd name="connsiteY25" fmla="*/ 1183221 h 1304396"/>
                <a:gd name="connsiteX26" fmla="*/ 395139 w 1342989"/>
                <a:gd name="connsiteY26" fmla="*/ 1098925 h 1304396"/>
                <a:gd name="connsiteX27" fmla="*/ 395139 w 1342989"/>
                <a:gd name="connsiteY27" fmla="*/ 1097168 h 1304396"/>
                <a:gd name="connsiteX28" fmla="*/ 393382 w 1342989"/>
                <a:gd name="connsiteY28" fmla="*/ 1070826 h 1304396"/>
                <a:gd name="connsiteX29" fmla="*/ 393382 w 1342989"/>
                <a:gd name="connsiteY29" fmla="*/ 1069070 h 1304396"/>
                <a:gd name="connsiteX30" fmla="*/ 389870 w 1342989"/>
                <a:gd name="connsiteY30" fmla="*/ 1046239 h 1304396"/>
                <a:gd name="connsiteX31" fmla="*/ 388114 w 1342989"/>
                <a:gd name="connsiteY31" fmla="*/ 1040971 h 1304396"/>
                <a:gd name="connsiteX32" fmla="*/ 381089 w 1342989"/>
                <a:gd name="connsiteY32" fmla="*/ 1019897 h 1304396"/>
                <a:gd name="connsiteX33" fmla="*/ 381089 w 1342989"/>
                <a:gd name="connsiteY33" fmla="*/ 1018141 h 1304396"/>
                <a:gd name="connsiteX34" fmla="*/ 370552 w 1342989"/>
                <a:gd name="connsiteY34" fmla="*/ 995310 h 1304396"/>
                <a:gd name="connsiteX35" fmla="*/ 368796 w 1342989"/>
                <a:gd name="connsiteY35" fmla="*/ 991798 h 1304396"/>
                <a:gd name="connsiteX36" fmla="*/ 672614 w 1342989"/>
                <a:gd name="connsiteY36" fmla="*/ 680956 h 1304396"/>
                <a:gd name="connsiteX37" fmla="*/ 976432 w 1342989"/>
                <a:gd name="connsiteY37" fmla="*/ 991798 h 1304396"/>
                <a:gd name="connsiteX38" fmla="*/ 974675 w 1342989"/>
                <a:gd name="connsiteY38" fmla="*/ 995310 h 1304396"/>
                <a:gd name="connsiteX39" fmla="*/ 964138 w 1342989"/>
                <a:gd name="connsiteY39" fmla="*/ 1018141 h 1304396"/>
                <a:gd name="connsiteX40" fmla="*/ 962382 w 1342989"/>
                <a:gd name="connsiteY40" fmla="*/ 1021653 h 1304396"/>
                <a:gd name="connsiteX41" fmla="*/ 955358 w 1342989"/>
                <a:gd name="connsiteY41" fmla="*/ 1042727 h 1304396"/>
                <a:gd name="connsiteX42" fmla="*/ 953601 w 1342989"/>
                <a:gd name="connsiteY42" fmla="*/ 1049752 h 1304396"/>
                <a:gd name="connsiteX43" fmla="*/ 950089 w 1342989"/>
                <a:gd name="connsiteY43" fmla="*/ 1070826 h 1304396"/>
                <a:gd name="connsiteX44" fmla="*/ 950089 w 1342989"/>
                <a:gd name="connsiteY44" fmla="*/ 1072582 h 1304396"/>
                <a:gd name="connsiteX45" fmla="*/ 948333 w 1342989"/>
                <a:gd name="connsiteY45" fmla="*/ 1098925 h 1304396"/>
                <a:gd name="connsiteX46" fmla="*/ 948333 w 1342989"/>
                <a:gd name="connsiteY46" fmla="*/ 1100681 h 1304396"/>
                <a:gd name="connsiteX47" fmla="*/ 1155561 w 1342989"/>
                <a:gd name="connsiteY47" fmla="*/ 1295616 h 1304396"/>
                <a:gd name="connsiteX48" fmla="*/ 1238101 w 1342989"/>
                <a:gd name="connsiteY48" fmla="*/ 1274542 h 1304396"/>
                <a:gd name="connsiteX49" fmla="*/ 1252151 w 1342989"/>
                <a:gd name="connsiteY49" fmla="*/ 1288591 h 1304396"/>
                <a:gd name="connsiteX50" fmla="*/ 1325910 w 1342989"/>
                <a:gd name="connsiteY50" fmla="*/ 1288591 h 1304396"/>
                <a:gd name="connsiteX51" fmla="*/ 1329422 w 1342989"/>
                <a:gd name="connsiteY51" fmla="*/ 1213076 h 1304396"/>
                <a:gd name="connsiteX52" fmla="*/ 298549 w 1342989"/>
                <a:gd name="connsiteY52" fmla="*/ 1199026 h 1304396"/>
                <a:gd name="connsiteX53" fmla="*/ 144006 w 1342989"/>
                <a:gd name="connsiteY53" fmla="*/ 1234150 h 1304396"/>
                <a:gd name="connsiteX54" fmla="*/ 277475 w 1342989"/>
                <a:gd name="connsiteY54" fmla="*/ 1100681 h 1304396"/>
                <a:gd name="connsiteX55" fmla="*/ 300305 w 1342989"/>
                <a:gd name="connsiteY55" fmla="*/ 1123511 h 1304396"/>
                <a:gd name="connsiteX56" fmla="*/ 302062 w 1342989"/>
                <a:gd name="connsiteY56" fmla="*/ 1197270 h 1304396"/>
                <a:gd name="connsiteX57" fmla="*/ 298549 w 1342989"/>
                <a:gd name="connsiteY57" fmla="*/ 1199026 h 1304396"/>
                <a:gd name="connsiteX58" fmla="*/ 1043166 w 1342989"/>
                <a:gd name="connsiteY58" fmla="*/ 1195514 h 1304396"/>
                <a:gd name="connsiteX59" fmla="*/ 1044922 w 1342989"/>
                <a:gd name="connsiteY59" fmla="*/ 1121755 h 1304396"/>
                <a:gd name="connsiteX60" fmla="*/ 1067753 w 1342989"/>
                <a:gd name="connsiteY60" fmla="*/ 1098925 h 1304396"/>
                <a:gd name="connsiteX61" fmla="*/ 1201222 w 1342989"/>
                <a:gd name="connsiteY61" fmla="*/ 1232394 h 1304396"/>
                <a:gd name="connsiteX62" fmla="*/ 1046679 w 1342989"/>
                <a:gd name="connsiteY62" fmla="*/ 1197270 h 1304396"/>
                <a:gd name="connsiteX63" fmla="*/ 1043166 w 1342989"/>
                <a:gd name="connsiteY63" fmla="*/ 1195514 h 130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342989" h="1304396">
                  <a:moveTo>
                    <a:pt x="1329422" y="1213076"/>
                  </a:moveTo>
                  <a:lnTo>
                    <a:pt x="1141512" y="1025165"/>
                  </a:lnTo>
                  <a:lnTo>
                    <a:pt x="1222296" y="944381"/>
                  </a:lnTo>
                  <a:cubicBezTo>
                    <a:pt x="1232833" y="933844"/>
                    <a:pt x="1232833" y="918039"/>
                    <a:pt x="1222296" y="907502"/>
                  </a:cubicBezTo>
                  <a:cubicBezTo>
                    <a:pt x="1218783" y="903990"/>
                    <a:pt x="1215271" y="902233"/>
                    <a:pt x="1211759" y="900477"/>
                  </a:cubicBezTo>
                  <a:cubicBezTo>
                    <a:pt x="1148536" y="881159"/>
                    <a:pt x="1080046" y="893452"/>
                    <a:pt x="1027361" y="933844"/>
                  </a:cubicBezTo>
                  <a:lnTo>
                    <a:pt x="720031" y="633539"/>
                  </a:lnTo>
                  <a:lnTo>
                    <a:pt x="1299567" y="38197"/>
                  </a:lnTo>
                  <a:cubicBezTo>
                    <a:pt x="1308348" y="29416"/>
                    <a:pt x="1308348" y="15367"/>
                    <a:pt x="1299567" y="6586"/>
                  </a:cubicBezTo>
                  <a:cubicBezTo>
                    <a:pt x="1290786" y="-2195"/>
                    <a:pt x="1276737" y="-2195"/>
                    <a:pt x="1267956" y="6586"/>
                  </a:cubicBezTo>
                  <a:lnTo>
                    <a:pt x="672614" y="587879"/>
                  </a:lnTo>
                  <a:lnTo>
                    <a:pt x="77272" y="6586"/>
                  </a:lnTo>
                  <a:cubicBezTo>
                    <a:pt x="68491" y="-2195"/>
                    <a:pt x="54441" y="-439"/>
                    <a:pt x="45660" y="8342"/>
                  </a:cubicBezTo>
                  <a:cubicBezTo>
                    <a:pt x="36880" y="17123"/>
                    <a:pt x="36880" y="29416"/>
                    <a:pt x="45660" y="38197"/>
                  </a:cubicBezTo>
                  <a:lnTo>
                    <a:pt x="625197" y="633539"/>
                  </a:lnTo>
                  <a:lnTo>
                    <a:pt x="317867" y="933844"/>
                  </a:lnTo>
                  <a:cubicBezTo>
                    <a:pt x="265182" y="893452"/>
                    <a:pt x="196691" y="881159"/>
                    <a:pt x="133469" y="900477"/>
                  </a:cubicBezTo>
                  <a:cubicBezTo>
                    <a:pt x="119420" y="903990"/>
                    <a:pt x="112395" y="919795"/>
                    <a:pt x="115907" y="933844"/>
                  </a:cubicBezTo>
                  <a:cubicBezTo>
                    <a:pt x="117664" y="937357"/>
                    <a:pt x="119420" y="940869"/>
                    <a:pt x="122932" y="944381"/>
                  </a:cubicBezTo>
                  <a:lnTo>
                    <a:pt x="203716" y="1025165"/>
                  </a:lnTo>
                  <a:lnTo>
                    <a:pt x="15806" y="1213076"/>
                  </a:lnTo>
                  <a:cubicBezTo>
                    <a:pt x="-5269" y="1234150"/>
                    <a:pt x="-5269" y="1267517"/>
                    <a:pt x="15806" y="1286835"/>
                  </a:cubicBezTo>
                  <a:cubicBezTo>
                    <a:pt x="36880" y="1307909"/>
                    <a:pt x="70247" y="1307909"/>
                    <a:pt x="89565" y="1286835"/>
                  </a:cubicBezTo>
                  <a:cubicBezTo>
                    <a:pt x="89565" y="1286835"/>
                    <a:pt x="89565" y="1286835"/>
                    <a:pt x="89565" y="1286835"/>
                  </a:cubicBezTo>
                  <a:lnTo>
                    <a:pt x="103614" y="1272786"/>
                  </a:lnTo>
                  <a:cubicBezTo>
                    <a:pt x="203716" y="1321958"/>
                    <a:pt x="324892" y="1281566"/>
                    <a:pt x="374065" y="1183221"/>
                  </a:cubicBezTo>
                  <a:cubicBezTo>
                    <a:pt x="386358" y="1156878"/>
                    <a:pt x="395139" y="1128780"/>
                    <a:pt x="395139" y="1098925"/>
                  </a:cubicBezTo>
                  <a:cubicBezTo>
                    <a:pt x="395139" y="1098925"/>
                    <a:pt x="395139" y="1097168"/>
                    <a:pt x="395139" y="1097168"/>
                  </a:cubicBezTo>
                  <a:cubicBezTo>
                    <a:pt x="395139" y="1088388"/>
                    <a:pt x="395139" y="1079607"/>
                    <a:pt x="393382" y="1070826"/>
                  </a:cubicBezTo>
                  <a:cubicBezTo>
                    <a:pt x="393382" y="1070826"/>
                    <a:pt x="393382" y="1069070"/>
                    <a:pt x="393382" y="1069070"/>
                  </a:cubicBezTo>
                  <a:cubicBezTo>
                    <a:pt x="391626" y="1062045"/>
                    <a:pt x="391626" y="1053264"/>
                    <a:pt x="389870" y="1046239"/>
                  </a:cubicBezTo>
                  <a:cubicBezTo>
                    <a:pt x="389870" y="1044483"/>
                    <a:pt x="388114" y="1042727"/>
                    <a:pt x="388114" y="1040971"/>
                  </a:cubicBezTo>
                  <a:cubicBezTo>
                    <a:pt x="386358" y="1033946"/>
                    <a:pt x="384602" y="1026921"/>
                    <a:pt x="381089" y="1019897"/>
                  </a:cubicBezTo>
                  <a:cubicBezTo>
                    <a:pt x="381089" y="1019897"/>
                    <a:pt x="381089" y="1018141"/>
                    <a:pt x="381089" y="1018141"/>
                  </a:cubicBezTo>
                  <a:cubicBezTo>
                    <a:pt x="377577" y="1011116"/>
                    <a:pt x="374065" y="1002335"/>
                    <a:pt x="370552" y="995310"/>
                  </a:cubicBezTo>
                  <a:cubicBezTo>
                    <a:pt x="370552" y="993554"/>
                    <a:pt x="368796" y="993554"/>
                    <a:pt x="368796" y="991798"/>
                  </a:cubicBezTo>
                  <a:lnTo>
                    <a:pt x="672614" y="680956"/>
                  </a:lnTo>
                  <a:lnTo>
                    <a:pt x="976432" y="991798"/>
                  </a:lnTo>
                  <a:cubicBezTo>
                    <a:pt x="976432" y="993554"/>
                    <a:pt x="974675" y="993554"/>
                    <a:pt x="974675" y="995310"/>
                  </a:cubicBezTo>
                  <a:cubicBezTo>
                    <a:pt x="971163" y="1002335"/>
                    <a:pt x="967651" y="1009360"/>
                    <a:pt x="964138" y="1018141"/>
                  </a:cubicBezTo>
                  <a:cubicBezTo>
                    <a:pt x="964138" y="1019897"/>
                    <a:pt x="964138" y="1019897"/>
                    <a:pt x="962382" y="1021653"/>
                  </a:cubicBezTo>
                  <a:cubicBezTo>
                    <a:pt x="960626" y="1028678"/>
                    <a:pt x="957114" y="1035702"/>
                    <a:pt x="955358" y="1042727"/>
                  </a:cubicBezTo>
                  <a:cubicBezTo>
                    <a:pt x="955358" y="1044483"/>
                    <a:pt x="953601" y="1046239"/>
                    <a:pt x="953601" y="1049752"/>
                  </a:cubicBezTo>
                  <a:cubicBezTo>
                    <a:pt x="951845" y="1056777"/>
                    <a:pt x="950089" y="1063801"/>
                    <a:pt x="950089" y="1070826"/>
                  </a:cubicBezTo>
                  <a:cubicBezTo>
                    <a:pt x="950089" y="1070826"/>
                    <a:pt x="950089" y="1072582"/>
                    <a:pt x="950089" y="1072582"/>
                  </a:cubicBezTo>
                  <a:cubicBezTo>
                    <a:pt x="950089" y="1081363"/>
                    <a:pt x="948333" y="1090144"/>
                    <a:pt x="948333" y="1098925"/>
                  </a:cubicBezTo>
                  <a:cubicBezTo>
                    <a:pt x="948333" y="1098925"/>
                    <a:pt x="948333" y="1100681"/>
                    <a:pt x="948333" y="1100681"/>
                  </a:cubicBezTo>
                  <a:cubicBezTo>
                    <a:pt x="951845" y="1211320"/>
                    <a:pt x="1044922" y="1299128"/>
                    <a:pt x="1155561" y="1295616"/>
                  </a:cubicBezTo>
                  <a:cubicBezTo>
                    <a:pt x="1183660" y="1293860"/>
                    <a:pt x="1213515" y="1286835"/>
                    <a:pt x="1238101" y="1274542"/>
                  </a:cubicBezTo>
                  <a:lnTo>
                    <a:pt x="1252151" y="1288591"/>
                  </a:lnTo>
                  <a:cubicBezTo>
                    <a:pt x="1273225" y="1309665"/>
                    <a:pt x="1306592" y="1309665"/>
                    <a:pt x="1325910" y="1288591"/>
                  </a:cubicBezTo>
                  <a:cubicBezTo>
                    <a:pt x="1345228" y="1267517"/>
                    <a:pt x="1350496" y="1234150"/>
                    <a:pt x="1329422" y="1213076"/>
                  </a:cubicBezTo>
                  <a:close/>
                  <a:moveTo>
                    <a:pt x="298549" y="1199026"/>
                  </a:moveTo>
                  <a:cubicBezTo>
                    <a:pt x="258157" y="1239418"/>
                    <a:pt x="198447" y="1253468"/>
                    <a:pt x="144006" y="1234150"/>
                  </a:cubicBezTo>
                  <a:lnTo>
                    <a:pt x="277475" y="1100681"/>
                  </a:lnTo>
                  <a:lnTo>
                    <a:pt x="300305" y="1123511"/>
                  </a:lnTo>
                  <a:cubicBezTo>
                    <a:pt x="319623" y="1142829"/>
                    <a:pt x="321379" y="1176196"/>
                    <a:pt x="302062" y="1197270"/>
                  </a:cubicBezTo>
                  <a:lnTo>
                    <a:pt x="298549" y="1199026"/>
                  </a:lnTo>
                  <a:close/>
                  <a:moveTo>
                    <a:pt x="1043166" y="1195514"/>
                  </a:moveTo>
                  <a:cubicBezTo>
                    <a:pt x="1023848" y="1174440"/>
                    <a:pt x="1023848" y="1142829"/>
                    <a:pt x="1044922" y="1121755"/>
                  </a:cubicBezTo>
                  <a:lnTo>
                    <a:pt x="1067753" y="1098925"/>
                  </a:lnTo>
                  <a:lnTo>
                    <a:pt x="1201222" y="1232394"/>
                  </a:lnTo>
                  <a:cubicBezTo>
                    <a:pt x="1146780" y="1251712"/>
                    <a:pt x="1087070" y="1237662"/>
                    <a:pt x="1046679" y="1197270"/>
                  </a:cubicBezTo>
                  <a:lnTo>
                    <a:pt x="1043166" y="1195514"/>
                  </a:lnTo>
                  <a:close/>
                </a:path>
              </a:pathLst>
            </a:custGeom>
            <a:solidFill>
              <a:schemeClr val="accent5">
                <a:lumMod val="20000"/>
                <a:lumOff val="80000"/>
              </a:schemeClr>
            </a:solidFill>
            <a:ln w="17562" cap="flat">
              <a:noFill/>
              <a:prstDash val="solid"/>
              <a:miter/>
            </a:ln>
          </p:spPr>
          <p:txBody>
            <a:bodyPr rtlCol="0" anchor="ctr"/>
            <a:lstStyle/>
            <a:p>
              <a:endParaRPr lang="en-US"/>
            </a:p>
          </p:txBody>
        </p:sp>
        <p:sp>
          <p:nvSpPr>
            <p:cNvPr id="28" name="Graphic 6" descr="Fencing outline">
              <a:extLst>
                <a:ext uri="{FF2B5EF4-FFF2-40B4-BE49-F238E27FC236}">
                  <a16:creationId xmlns:a16="http://schemas.microsoft.com/office/drawing/2014/main" id="{8833242B-3F49-ADC5-B6BE-B00512E2433A}"/>
                </a:ext>
              </a:extLst>
            </p:cNvPr>
            <p:cNvSpPr/>
            <p:nvPr/>
          </p:nvSpPr>
          <p:spPr>
            <a:xfrm>
              <a:off x="8469331" y="428763"/>
              <a:ext cx="1299209" cy="1282248"/>
            </a:xfrm>
            <a:custGeom>
              <a:avLst/>
              <a:gdLst>
                <a:gd name="connsiteX0" fmla="*/ 1288234 w 1299209"/>
                <a:gd name="connsiteY0" fmla="*/ 1227807 h 1282248"/>
                <a:gd name="connsiteX1" fmla="*/ 1095055 w 1299209"/>
                <a:gd name="connsiteY1" fmla="*/ 1038141 h 1282248"/>
                <a:gd name="connsiteX2" fmla="*/ 1207450 w 1299209"/>
                <a:gd name="connsiteY2" fmla="*/ 925746 h 1282248"/>
                <a:gd name="connsiteX3" fmla="*/ 1207450 w 1299209"/>
                <a:gd name="connsiteY3" fmla="*/ 901159 h 1282248"/>
                <a:gd name="connsiteX4" fmla="*/ 1202181 w 1299209"/>
                <a:gd name="connsiteY4" fmla="*/ 897647 h 1282248"/>
                <a:gd name="connsiteX5" fmla="*/ 1116129 w 1299209"/>
                <a:gd name="connsiteY5" fmla="*/ 878329 h 1282248"/>
                <a:gd name="connsiteX6" fmla="*/ 984416 w 1299209"/>
                <a:gd name="connsiteY6" fmla="*/ 927502 h 1282248"/>
                <a:gd name="connsiteX7" fmla="*/ 675330 w 1299209"/>
                <a:gd name="connsiteY7" fmla="*/ 623684 h 1282248"/>
                <a:gd name="connsiteX8" fmla="*/ 1277697 w 1299209"/>
                <a:gd name="connsiteY8" fmla="*/ 30098 h 1282248"/>
                <a:gd name="connsiteX9" fmla="*/ 1275940 w 1299209"/>
                <a:gd name="connsiteY9" fmla="*/ 5512 h 1282248"/>
                <a:gd name="connsiteX10" fmla="*/ 1253110 w 1299209"/>
                <a:gd name="connsiteY10" fmla="*/ 5512 h 1282248"/>
                <a:gd name="connsiteX11" fmla="*/ 650743 w 1299209"/>
                <a:gd name="connsiteY11" fmla="*/ 599098 h 1282248"/>
                <a:gd name="connsiteX12" fmla="*/ 48376 w 1299209"/>
                <a:gd name="connsiteY12" fmla="*/ 5512 h 1282248"/>
                <a:gd name="connsiteX13" fmla="*/ 23790 w 1299209"/>
                <a:gd name="connsiteY13" fmla="*/ 3755 h 1282248"/>
                <a:gd name="connsiteX14" fmla="*/ 22034 w 1299209"/>
                <a:gd name="connsiteY14" fmla="*/ 28342 h 1282248"/>
                <a:gd name="connsiteX15" fmla="*/ 23790 w 1299209"/>
                <a:gd name="connsiteY15" fmla="*/ 30098 h 1282248"/>
                <a:gd name="connsiteX16" fmla="*/ 626157 w 1299209"/>
                <a:gd name="connsiteY16" fmla="*/ 623684 h 1282248"/>
                <a:gd name="connsiteX17" fmla="*/ 317071 w 1299209"/>
                <a:gd name="connsiteY17" fmla="*/ 927502 h 1282248"/>
                <a:gd name="connsiteX18" fmla="*/ 185358 w 1299209"/>
                <a:gd name="connsiteY18" fmla="*/ 878329 h 1282248"/>
                <a:gd name="connsiteX19" fmla="*/ 99305 w 1299209"/>
                <a:gd name="connsiteY19" fmla="*/ 897647 h 1282248"/>
                <a:gd name="connsiteX20" fmla="*/ 90524 w 1299209"/>
                <a:gd name="connsiteY20" fmla="*/ 920477 h 1282248"/>
                <a:gd name="connsiteX21" fmla="*/ 94037 w 1299209"/>
                <a:gd name="connsiteY21" fmla="*/ 925746 h 1282248"/>
                <a:gd name="connsiteX22" fmla="*/ 206432 w 1299209"/>
                <a:gd name="connsiteY22" fmla="*/ 1038141 h 1282248"/>
                <a:gd name="connsiteX23" fmla="*/ 6228 w 1299209"/>
                <a:gd name="connsiteY23" fmla="*/ 1234832 h 1282248"/>
                <a:gd name="connsiteX24" fmla="*/ 4472 w 1299209"/>
                <a:gd name="connsiteY24" fmla="*/ 1259418 h 1282248"/>
                <a:gd name="connsiteX25" fmla="*/ 29058 w 1299209"/>
                <a:gd name="connsiteY25" fmla="*/ 1261175 h 1282248"/>
                <a:gd name="connsiteX26" fmla="*/ 30814 w 1299209"/>
                <a:gd name="connsiteY26" fmla="*/ 1259418 h 1282248"/>
                <a:gd name="connsiteX27" fmla="*/ 55401 w 1299209"/>
                <a:gd name="connsiteY27" fmla="*/ 1234832 h 1282248"/>
                <a:gd name="connsiteX28" fmla="*/ 185358 w 1299209"/>
                <a:gd name="connsiteY28" fmla="*/ 1282249 h 1282248"/>
                <a:gd name="connsiteX29" fmla="*/ 204676 w 1299209"/>
                <a:gd name="connsiteY29" fmla="*/ 1280493 h 1282248"/>
                <a:gd name="connsiteX30" fmla="*/ 304777 w 1299209"/>
                <a:gd name="connsiteY30" fmla="*/ 1241857 h 1282248"/>
                <a:gd name="connsiteX31" fmla="*/ 311802 w 1299209"/>
                <a:gd name="connsiteY31" fmla="*/ 1236588 h 1282248"/>
                <a:gd name="connsiteX32" fmla="*/ 343413 w 1299209"/>
                <a:gd name="connsiteY32" fmla="*/ 953845 h 1282248"/>
                <a:gd name="connsiteX33" fmla="*/ 341657 w 1299209"/>
                <a:gd name="connsiteY33" fmla="*/ 952088 h 1282248"/>
                <a:gd name="connsiteX34" fmla="*/ 650743 w 1299209"/>
                <a:gd name="connsiteY34" fmla="*/ 648271 h 1282248"/>
                <a:gd name="connsiteX35" fmla="*/ 959829 w 1299209"/>
                <a:gd name="connsiteY35" fmla="*/ 952088 h 1282248"/>
                <a:gd name="connsiteX36" fmla="*/ 987928 w 1299209"/>
                <a:gd name="connsiteY36" fmla="*/ 1234832 h 1282248"/>
                <a:gd name="connsiteX37" fmla="*/ 989684 w 1299209"/>
                <a:gd name="connsiteY37" fmla="*/ 1236588 h 1282248"/>
                <a:gd name="connsiteX38" fmla="*/ 996709 w 1299209"/>
                <a:gd name="connsiteY38" fmla="*/ 1241857 h 1282248"/>
                <a:gd name="connsiteX39" fmla="*/ 1096811 w 1299209"/>
                <a:gd name="connsiteY39" fmla="*/ 1280493 h 1282248"/>
                <a:gd name="connsiteX40" fmla="*/ 1116129 w 1299209"/>
                <a:gd name="connsiteY40" fmla="*/ 1282249 h 1282248"/>
                <a:gd name="connsiteX41" fmla="*/ 1246086 w 1299209"/>
                <a:gd name="connsiteY41" fmla="*/ 1234832 h 1282248"/>
                <a:gd name="connsiteX42" fmla="*/ 1270672 w 1299209"/>
                <a:gd name="connsiteY42" fmla="*/ 1259418 h 1282248"/>
                <a:gd name="connsiteX43" fmla="*/ 1295258 w 1299209"/>
                <a:gd name="connsiteY43" fmla="*/ 1257662 h 1282248"/>
                <a:gd name="connsiteX44" fmla="*/ 1295258 w 1299209"/>
                <a:gd name="connsiteY44" fmla="*/ 1234832 h 1282248"/>
                <a:gd name="connsiteX45" fmla="*/ 1288234 w 1299209"/>
                <a:gd name="connsiteY45" fmla="*/ 1227807 h 1282248"/>
                <a:gd name="connsiteX46" fmla="*/ 299509 w 1299209"/>
                <a:gd name="connsiteY46" fmla="*/ 1187415 h 1282248"/>
                <a:gd name="connsiteX47" fmla="*/ 290728 w 1299209"/>
                <a:gd name="connsiteY47" fmla="*/ 1208489 h 1282248"/>
                <a:gd name="connsiteX48" fmla="*/ 201163 w 1299209"/>
                <a:gd name="connsiteY48" fmla="*/ 1245369 h 1282248"/>
                <a:gd name="connsiteX49" fmla="*/ 79987 w 1299209"/>
                <a:gd name="connsiteY49" fmla="*/ 1208489 h 1282248"/>
                <a:gd name="connsiteX50" fmla="*/ 229262 w 1299209"/>
                <a:gd name="connsiteY50" fmla="*/ 1060971 h 1282248"/>
                <a:gd name="connsiteX51" fmla="*/ 274922 w 1299209"/>
                <a:gd name="connsiteY51" fmla="*/ 1106631 h 1282248"/>
                <a:gd name="connsiteX52" fmla="*/ 299509 w 1299209"/>
                <a:gd name="connsiteY52" fmla="*/ 1187415 h 1282248"/>
                <a:gd name="connsiteX53" fmla="*/ 299509 w 1299209"/>
                <a:gd name="connsiteY53" fmla="*/ 1187415 h 1282248"/>
                <a:gd name="connsiteX54" fmla="*/ 350438 w 1299209"/>
                <a:gd name="connsiteY54" fmla="*/ 1099607 h 1282248"/>
                <a:gd name="connsiteX55" fmla="*/ 336388 w 1299209"/>
                <a:gd name="connsiteY55" fmla="*/ 1150536 h 1282248"/>
                <a:gd name="connsiteX56" fmla="*/ 336388 w 1299209"/>
                <a:gd name="connsiteY56" fmla="*/ 1150536 h 1282248"/>
                <a:gd name="connsiteX57" fmla="*/ 301265 w 1299209"/>
                <a:gd name="connsiteY57" fmla="*/ 1083801 h 1282248"/>
                <a:gd name="connsiteX58" fmla="*/ 137941 w 1299209"/>
                <a:gd name="connsiteY58" fmla="*/ 920477 h 1282248"/>
                <a:gd name="connsiteX59" fmla="*/ 137941 w 1299209"/>
                <a:gd name="connsiteY59" fmla="*/ 920477 h 1282248"/>
                <a:gd name="connsiteX60" fmla="*/ 137941 w 1299209"/>
                <a:gd name="connsiteY60" fmla="*/ 920477 h 1282248"/>
                <a:gd name="connsiteX61" fmla="*/ 194138 w 1299209"/>
                <a:gd name="connsiteY61" fmla="*/ 913453 h 1282248"/>
                <a:gd name="connsiteX62" fmla="*/ 352194 w 1299209"/>
                <a:gd name="connsiteY62" fmla="*/ 1089070 h 1282248"/>
                <a:gd name="connsiteX63" fmla="*/ 350438 w 1299209"/>
                <a:gd name="connsiteY63" fmla="*/ 1099607 h 1282248"/>
                <a:gd name="connsiteX64" fmla="*/ 350438 w 1299209"/>
                <a:gd name="connsiteY64" fmla="*/ 1099607 h 1282248"/>
                <a:gd name="connsiteX65" fmla="*/ 965098 w 1299209"/>
                <a:gd name="connsiteY65" fmla="*/ 1150536 h 1282248"/>
                <a:gd name="connsiteX66" fmla="*/ 965098 w 1299209"/>
                <a:gd name="connsiteY66" fmla="*/ 1150536 h 1282248"/>
                <a:gd name="connsiteX67" fmla="*/ 949292 w 1299209"/>
                <a:gd name="connsiteY67" fmla="*/ 1099607 h 1282248"/>
                <a:gd name="connsiteX68" fmla="*/ 1096811 w 1299209"/>
                <a:gd name="connsiteY68" fmla="*/ 915209 h 1282248"/>
                <a:gd name="connsiteX69" fmla="*/ 1107348 w 1299209"/>
                <a:gd name="connsiteY69" fmla="*/ 915209 h 1282248"/>
                <a:gd name="connsiteX70" fmla="*/ 1163545 w 1299209"/>
                <a:gd name="connsiteY70" fmla="*/ 922233 h 1282248"/>
                <a:gd name="connsiteX71" fmla="*/ 1163545 w 1299209"/>
                <a:gd name="connsiteY71" fmla="*/ 922233 h 1282248"/>
                <a:gd name="connsiteX72" fmla="*/ 1163545 w 1299209"/>
                <a:gd name="connsiteY72" fmla="*/ 922233 h 1282248"/>
                <a:gd name="connsiteX73" fmla="*/ 1000221 w 1299209"/>
                <a:gd name="connsiteY73" fmla="*/ 1085557 h 1282248"/>
                <a:gd name="connsiteX74" fmla="*/ 965098 w 1299209"/>
                <a:gd name="connsiteY74" fmla="*/ 1150536 h 1282248"/>
                <a:gd name="connsiteX75" fmla="*/ 965098 w 1299209"/>
                <a:gd name="connsiteY75" fmla="*/ 1150536 h 1282248"/>
                <a:gd name="connsiteX76" fmla="*/ 1100323 w 1299209"/>
                <a:gd name="connsiteY76" fmla="*/ 1247125 h 1282248"/>
                <a:gd name="connsiteX77" fmla="*/ 1010758 w 1299209"/>
                <a:gd name="connsiteY77" fmla="*/ 1210246 h 1282248"/>
                <a:gd name="connsiteX78" fmla="*/ 1001978 w 1299209"/>
                <a:gd name="connsiteY78" fmla="*/ 1189171 h 1282248"/>
                <a:gd name="connsiteX79" fmla="*/ 1024808 w 1299209"/>
                <a:gd name="connsiteY79" fmla="*/ 1110144 h 1282248"/>
                <a:gd name="connsiteX80" fmla="*/ 1070468 w 1299209"/>
                <a:gd name="connsiteY80" fmla="*/ 1064483 h 1282248"/>
                <a:gd name="connsiteX81" fmla="*/ 1219743 w 1299209"/>
                <a:gd name="connsiteY81" fmla="*/ 1212002 h 1282248"/>
                <a:gd name="connsiteX82" fmla="*/ 1100323 w 1299209"/>
                <a:gd name="connsiteY82" fmla="*/ 1247125 h 1282248"/>
                <a:gd name="connsiteX83" fmla="*/ 1100323 w 1299209"/>
                <a:gd name="connsiteY83" fmla="*/ 1247125 h 128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99209" h="1282248">
                  <a:moveTo>
                    <a:pt x="1288234" y="1227807"/>
                  </a:moveTo>
                  <a:lnTo>
                    <a:pt x="1095055" y="1038141"/>
                  </a:lnTo>
                  <a:lnTo>
                    <a:pt x="1207450" y="925746"/>
                  </a:lnTo>
                  <a:cubicBezTo>
                    <a:pt x="1214474" y="918721"/>
                    <a:pt x="1214474" y="908184"/>
                    <a:pt x="1207450" y="901159"/>
                  </a:cubicBezTo>
                  <a:cubicBezTo>
                    <a:pt x="1205694" y="899403"/>
                    <a:pt x="1203937" y="899403"/>
                    <a:pt x="1202181" y="897647"/>
                  </a:cubicBezTo>
                  <a:cubicBezTo>
                    <a:pt x="1175839" y="885354"/>
                    <a:pt x="1145984" y="878329"/>
                    <a:pt x="1116129" y="878329"/>
                  </a:cubicBezTo>
                  <a:cubicBezTo>
                    <a:pt x="1066956" y="878329"/>
                    <a:pt x="1021295" y="895891"/>
                    <a:pt x="984416" y="927502"/>
                  </a:cubicBezTo>
                  <a:lnTo>
                    <a:pt x="675330" y="623684"/>
                  </a:lnTo>
                  <a:lnTo>
                    <a:pt x="1277697" y="30098"/>
                  </a:lnTo>
                  <a:cubicBezTo>
                    <a:pt x="1284721" y="23073"/>
                    <a:pt x="1282965" y="12536"/>
                    <a:pt x="1275940" y="5512"/>
                  </a:cubicBezTo>
                  <a:cubicBezTo>
                    <a:pt x="1268916" y="243"/>
                    <a:pt x="1258379" y="243"/>
                    <a:pt x="1253110" y="5512"/>
                  </a:cubicBezTo>
                  <a:lnTo>
                    <a:pt x="650743" y="599098"/>
                  </a:lnTo>
                  <a:lnTo>
                    <a:pt x="48376" y="5512"/>
                  </a:lnTo>
                  <a:cubicBezTo>
                    <a:pt x="41352" y="-1513"/>
                    <a:pt x="30814" y="-1513"/>
                    <a:pt x="23790" y="3755"/>
                  </a:cubicBezTo>
                  <a:cubicBezTo>
                    <a:pt x="16765" y="10780"/>
                    <a:pt x="16765" y="21317"/>
                    <a:pt x="22034" y="28342"/>
                  </a:cubicBezTo>
                  <a:cubicBezTo>
                    <a:pt x="22034" y="28342"/>
                    <a:pt x="23790" y="30098"/>
                    <a:pt x="23790" y="30098"/>
                  </a:cubicBezTo>
                  <a:lnTo>
                    <a:pt x="626157" y="623684"/>
                  </a:lnTo>
                  <a:lnTo>
                    <a:pt x="317071" y="927502"/>
                  </a:lnTo>
                  <a:cubicBezTo>
                    <a:pt x="280191" y="895891"/>
                    <a:pt x="234530" y="878329"/>
                    <a:pt x="185358" y="878329"/>
                  </a:cubicBezTo>
                  <a:cubicBezTo>
                    <a:pt x="155503" y="878329"/>
                    <a:pt x="125648" y="885354"/>
                    <a:pt x="99305" y="897647"/>
                  </a:cubicBezTo>
                  <a:cubicBezTo>
                    <a:pt x="90524" y="901159"/>
                    <a:pt x="87012" y="911696"/>
                    <a:pt x="90524" y="920477"/>
                  </a:cubicBezTo>
                  <a:cubicBezTo>
                    <a:pt x="90524" y="922233"/>
                    <a:pt x="92281" y="923990"/>
                    <a:pt x="94037" y="925746"/>
                  </a:cubicBezTo>
                  <a:lnTo>
                    <a:pt x="206432" y="1038141"/>
                  </a:lnTo>
                  <a:lnTo>
                    <a:pt x="6228" y="1234832"/>
                  </a:lnTo>
                  <a:cubicBezTo>
                    <a:pt x="-797" y="1241857"/>
                    <a:pt x="-2553" y="1252394"/>
                    <a:pt x="4472" y="1259418"/>
                  </a:cubicBezTo>
                  <a:cubicBezTo>
                    <a:pt x="11497" y="1266443"/>
                    <a:pt x="22034" y="1268199"/>
                    <a:pt x="29058" y="1261175"/>
                  </a:cubicBezTo>
                  <a:cubicBezTo>
                    <a:pt x="29058" y="1261175"/>
                    <a:pt x="30814" y="1259418"/>
                    <a:pt x="30814" y="1259418"/>
                  </a:cubicBezTo>
                  <a:lnTo>
                    <a:pt x="55401" y="1234832"/>
                  </a:lnTo>
                  <a:cubicBezTo>
                    <a:pt x="92281" y="1264687"/>
                    <a:pt x="137941" y="1282249"/>
                    <a:pt x="185358" y="1282249"/>
                  </a:cubicBezTo>
                  <a:cubicBezTo>
                    <a:pt x="192382" y="1282249"/>
                    <a:pt x="197651" y="1282249"/>
                    <a:pt x="204676" y="1280493"/>
                  </a:cubicBezTo>
                  <a:cubicBezTo>
                    <a:pt x="241555" y="1276980"/>
                    <a:pt x="274922" y="1264687"/>
                    <a:pt x="304777" y="1241857"/>
                  </a:cubicBezTo>
                  <a:cubicBezTo>
                    <a:pt x="306533" y="1240101"/>
                    <a:pt x="310046" y="1238344"/>
                    <a:pt x="311802" y="1236588"/>
                  </a:cubicBezTo>
                  <a:cubicBezTo>
                    <a:pt x="399611" y="1166341"/>
                    <a:pt x="413660" y="1039897"/>
                    <a:pt x="343413" y="953845"/>
                  </a:cubicBezTo>
                  <a:cubicBezTo>
                    <a:pt x="343413" y="953845"/>
                    <a:pt x="341657" y="952088"/>
                    <a:pt x="341657" y="952088"/>
                  </a:cubicBezTo>
                  <a:lnTo>
                    <a:pt x="650743" y="648271"/>
                  </a:lnTo>
                  <a:lnTo>
                    <a:pt x="959829" y="952088"/>
                  </a:lnTo>
                  <a:cubicBezTo>
                    <a:pt x="889583" y="1038141"/>
                    <a:pt x="901876" y="1164585"/>
                    <a:pt x="987928" y="1234832"/>
                  </a:cubicBezTo>
                  <a:cubicBezTo>
                    <a:pt x="987928" y="1234832"/>
                    <a:pt x="989684" y="1236588"/>
                    <a:pt x="989684" y="1236588"/>
                  </a:cubicBezTo>
                  <a:cubicBezTo>
                    <a:pt x="991441" y="1238344"/>
                    <a:pt x="993197" y="1240101"/>
                    <a:pt x="996709" y="1241857"/>
                  </a:cubicBezTo>
                  <a:cubicBezTo>
                    <a:pt x="1026564" y="1262931"/>
                    <a:pt x="1059931" y="1276980"/>
                    <a:pt x="1096811" y="1280493"/>
                  </a:cubicBezTo>
                  <a:cubicBezTo>
                    <a:pt x="1103836" y="1280493"/>
                    <a:pt x="1109104" y="1282249"/>
                    <a:pt x="1116129" y="1282249"/>
                  </a:cubicBezTo>
                  <a:cubicBezTo>
                    <a:pt x="1163545" y="1282249"/>
                    <a:pt x="1209206" y="1264687"/>
                    <a:pt x="1246086" y="1234832"/>
                  </a:cubicBezTo>
                  <a:lnTo>
                    <a:pt x="1270672" y="1259418"/>
                  </a:lnTo>
                  <a:cubicBezTo>
                    <a:pt x="1277697" y="1266443"/>
                    <a:pt x="1288234" y="1264687"/>
                    <a:pt x="1295258" y="1257662"/>
                  </a:cubicBezTo>
                  <a:cubicBezTo>
                    <a:pt x="1300527" y="1250638"/>
                    <a:pt x="1300527" y="1240101"/>
                    <a:pt x="1295258" y="1234832"/>
                  </a:cubicBezTo>
                  <a:lnTo>
                    <a:pt x="1288234" y="1227807"/>
                  </a:lnTo>
                  <a:close/>
                  <a:moveTo>
                    <a:pt x="299509" y="1187415"/>
                  </a:moveTo>
                  <a:cubicBezTo>
                    <a:pt x="297753" y="1194440"/>
                    <a:pt x="294240" y="1203221"/>
                    <a:pt x="290728" y="1208489"/>
                  </a:cubicBezTo>
                  <a:cubicBezTo>
                    <a:pt x="266142" y="1229564"/>
                    <a:pt x="234530" y="1241857"/>
                    <a:pt x="201163" y="1245369"/>
                  </a:cubicBezTo>
                  <a:cubicBezTo>
                    <a:pt x="157259" y="1248881"/>
                    <a:pt x="115111" y="1236588"/>
                    <a:pt x="79987" y="1208489"/>
                  </a:cubicBezTo>
                  <a:lnTo>
                    <a:pt x="229262" y="1060971"/>
                  </a:lnTo>
                  <a:lnTo>
                    <a:pt x="274922" y="1106631"/>
                  </a:lnTo>
                  <a:cubicBezTo>
                    <a:pt x="297753" y="1129462"/>
                    <a:pt x="306533" y="1159317"/>
                    <a:pt x="299509" y="1187415"/>
                  </a:cubicBezTo>
                  <a:lnTo>
                    <a:pt x="299509" y="1187415"/>
                  </a:lnTo>
                  <a:close/>
                  <a:moveTo>
                    <a:pt x="350438" y="1099607"/>
                  </a:moveTo>
                  <a:cubicBezTo>
                    <a:pt x="348682" y="1117168"/>
                    <a:pt x="343413" y="1134730"/>
                    <a:pt x="336388" y="1150536"/>
                  </a:cubicBezTo>
                  <a:cubicBezTo>
                    <a:pt x="336388" y="1150536"/>
                    <a:pt x="336388" y="1150536"/>
                    <a:pt x="336388" y="1150536"/>
                  </a:cubicBezTo>
                  <a:cubicBezTo>
                    <a:pt x="332876" y="1125949"/>
                    <a:pt x="320583" y="1101363"/>
                    <a:pt x="301265" y="1083801"/>
                  </a:cubicBezTo>
                  <a:lnTo>
                    <a:pt x="137941" y="920477"/>
                  </a:lnTo>
                  <a:cubicBezTo>
                    <a:pt x="137941" y="920477"/>
                    <a:pt x="137941" y="920477"/>
                    <a:pt x="137941" y="920477"/>
                  </a:cubicBezTo>
                  <a:cubicBezTo>
                    <a:pt x="137941" y="920477"/>
                    <a:pt x="137941" y="920477"/>
                    <a:pt x="137941" y="920477"/>
                  </a:cubicBezTo>
                  <a:cubicBezTo>
                    <a:pt x="155503" y="915209"/>
                    <a:pt x="174821" y="913453"/>
                    <a:pt x="194138" y="913453"/>
                  </a:cubicBezTo>
                  <a:cubicBezTo>
                    <a:pt x="285459" y="918721"/>
                    <a:pt x="357462" y="995993"/>
                    <a:pt x="352194" y="1089070"/>
                  </a:cubicBezTo>
                  <a:cubicBezTo>
                    <a:pt x="352194" y="1092582"/>
                    <a:pt x="352194" y="1096094"/>
                    <a:pt x="350438" y="1099607"/>
                  </a:cubicBezTo>
                  <a:lnTo>
                    <a:pt x="350438" y="1099607"/>
                  </a:lnTo>
                  <a:close/>
                  <a:moveTo>
                    <a:pt x="965098" y="1150536"/>
                  </a:moveTo>
                  <a:cubicBezTo>
                    <a:pt x="965098" y="1150536"/>
                    <a:pt x="965098" y="1150536"/>
                    <a:pt x="965098" y="1150536"/>
                  </a:cubicBezTo>
                  <a:cubicBezTo>
                    <a:pt x="956317" y="1134730"/>
                    <a:pt x="952805" y="1117168"/>
                    <a:pt x="949292" y="1099607"/>
                  </a:cubicBezTo>
                  <a:cubicBezTo>
                    <a:pt x="938755" y="1008286"/>
                    <a:pt x="1003734" y="925746"/>
                    <a:pt x="1096811" y="915209"/>
                  </a:cubicBezTo>
                  <a:cubicBezTo>
                    <a:pt x="1100323" y="915209"/>
                    <a:pt x="1103836" y="915209"/>
                    <a:pt x="1107348" y="915209"/>
                  </a:cubicBezTo>
                  <a:cubicBezTo>
                    <a:pt x="1126666" y="913453"/>
                    <a:pt x="1144227" y="916965"/>
                    <a:pt x="1163545" y="922233"/>
                  </a:cubicBezTo>
                  <a:cubicBezTo>
                    <a:pt x="1163545" y="922233"/>
                    <a:pt x="1163545" y="922233"/>
                    <a:pt x="1163545" y="922233"/>
                  </a:cubicBezTo>
                  <a:cubicBezTo>
                    <a:pt x="1163545" y="922233"/>
                    <a:pt x="1163545" y="922233"/>
                    <a:pt x="1163545" y="922233"/>
                  </a:cubicBezTo>
                  <a:lnTo>
                    <a:pt x="1000221" y="1085557"/>
                  </a:lnTo>
                  <a:cubicBezTo>
                    <a:pt x="980904" y="1101363"/>
                    <a:pt x="970366" y="1125949"/>
                    <a:pt x="965098" y="1150536"/>
                  </a:cubicBezTo>
                  <a:lnTo>
                    <a:pt x="965098" y="1150536"/>
                  </a:lnTo>
                  <a:close/>
                  <a:moveTo>
                    <a:pt x="1100323" y="1247125"/>
                  </a:moveTo>
                  <a:cubicBezTo>
                    <a:pt x="1066956" y="1243613"/>
                    <a:pt x="1037101" y="1231320"/>
                    <a:pt x="1010758" y="1210246"/>
                  </a:cubicBezTo>
                  <a:cubicBezTo>
                    <a:pt x="1005490" y="1203221"/>
                    <a:pt x="1003734" y="1196196"/>
                    <a:pt x="1001978" y="1189171"/>
                  </a:cubicBezTo>
                  <a:cubicBezTo>
                    <a:pt x="994953" y="1161073"/>
                    <a:pt x="1005490" y="1131218"/>
                    <a:pt x="1024808" y="1110144"/>
                  </a:cubicBezTo>
                  <a:lnTo>
                    <a:pt x="1070468" y="1064483"/>
                  </a:lnTo>
                  <a:lnTo>
                    <a:pt x="1219743" y="1212002"/>
                  </a:lnTo>
                  <a:cubicBezTo>
                    <a:pt x="1186376" y="1238344"/>
                    <a:pt x="1142471" y="1250638"/>
                    <a:pt x="1100323" y="1247125"/>
                  </a:cubicBezTo>
                  <a:lnTo>
                    <a:pt x="1100323" y="1247125"/>
                  </a:lnTo>
                  <a:close/>
                </a:path>
              </a:pathLst>
            </a:custGeom>
            <a:solidFill>
              <a:schemeClr val="accent4">
                <a:lumMod val="75000"/>
              </a:schemeClr>
            </a:solidFill>
            <a:ln w="17562" cap="flat">
              <a:noFill/>
              <a:prstDash val="solid"/>
              <a:miter/>
            </a:ln>
          </p:spPr>
          <p:txBody>
            <a:bodyPr rtlCol="0" anchor="ctr"/>
            <a:lstStyle/>
            <a:p>
              <a:endParaRPr lang="en-US"/>
            </a:p>
          </p:txBody>
        </p:sp>
      </p:grpSp>
      <p:sp>
        <p:nvSpPr>
          <p:cNvPr id="45" name="Rectangle 44">
            <a:extLst>
              <a:ext uri="{FF2B5EF4-FFF2-40B4-BE49-F238E27FC236}">
                <a16:creationId xmlns:a16="http://schemas.microsoft.com/office/drawing/2014/main" id="{9EB2D217-6FFD-9EEE-D8C2-856671CFE441}"/>
              </a:ext>
            </a:extLst>
          </p:cNvPr>
          <p:cNvSpPr/>
          <p:nvPr/>
        </p:nvSpPr>
        <p:spPr>
          <a:xfrm>
            <a:off x="8111657" y="4230377"/>
            <a:ext cx="1687664" cy="1152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CA9A8BB1-FEB5-81AD-FF1B-88C63BE1ADBE}"/>
              </a:ext>
            </a:extLst>
          </p:cNvPr>
          <p:cNvSpPr/>
          <p:nvPr/>
        </p:nvSpPr>
        <p:spPr>
          <a:xfrm>
            <a:off x="5276741" y="2748693"/>
            <a:ext cx="4164901" cy="1152000"/>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B378A50B-2D61-439F-9E39-EB17BA3F8D00}"/>
              </a:ext>
            </a:extLst>
          </p:cNvPr>
          <p:cNvSpPr/>
          <p:nvPr/>
        </p:nvSpPr>
        <p:spPr>
          <a:xfrm>
            <a:off x="412433" y="4230377"/>
            <a:ext cx="7727799" cy="115200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CDB0B7E1-5D3C-E301-4FF7-C4DE2B265B90}"/>
              </a:ext>
            </a:extLst>
          </p:cNvPr>
          <p:cNvCxnSpPr>
            <a:cxnSpLocks/>
            <a:stCxn id="64" idx="0"/>
          </p:cNvCxnSpPr>
          <p:nvPr/>
        </p:nvCxnSpPr>
        <p:spPr>
          <a:xfrm flipV="1">
            <a:off x="5161497" y="3520360"/>
            <a:ext cx="462319" cy="771667"/>
          </a:xfrm>
          <a:prstGeom prst="line">
            <a:avLst/>
          </a:prstGeom>
          <a:ln w="28575">
            <a:solidFill>
              <a:schemeClr val="accent4">
                <a:lumMod val="75000"/>
              </a:schemeClr>
            </a:solidFill>
          </a:ln>
        </p:spPr>
        <p:style>
          <a:lnRef idx="1">
            <a:schemeClr val="accent2"/>
          </a:lnRef>
          <a:fillRef idx="0">
            <a:schemeClr val="accent2"/>
          </a:fillRef>
          <a:effectRef idx="0">
            <a:schemeClr val="accent2"/>
          </a:effectRef>
          <a:fontRef idx="minor">
            <a:schemeClr val="tx1"/>
          </a:fontRef>
        </p:style>
      </p:cxnSp>
      <p:sp>
        <p:nvSpPr>
          <p:cNvPr id="49" name="Oval 48">
            <a:extLst>
              <a:ext uri="{FF2B5EF4-FFF2-40B4-BE49-F238E27FC236}">
                <a16:creationId xmlns:a16="http://schemas.microsoft.com/office/drawing/2014/main" id="{69CF120F-DFA3-A21D-C048-3C2E9D305438}"/>
              </a:ext>
            </a:extLst>
          </p:cNvPr>
          <p:cNvSpPr/>
          <p:nvPr/>
        </p:nvSpPr>
        <p:spPr>
          <a:xfrm>
            <a:off x="1132061" y="4292027"/>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F743AD9A-4E8A-8887-5CEC-9369CFED67DC}"/>
              </a:ext>
            </a:extLst>
          </p:cNvPr>
          <p:cNvSpPr/>
          <p:nvPr/>
        </p:nvSpPr>
        <p:spPr>
          <a:xfrm>
            <a:off x="2889604" y="4292027"/>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AD2AFDA9-B981-73B1-DF1A-2C12A75A3252}"/>
              </a:ext>
            </a:extLst>
          </p:cNvPr>
          <p:cNvSpPr/>
          <p:nvPr/>
        </p:nvSpPr>
        <p:spPr>
          <a:xfrm>
            <a:off x="6404689" y="4292027"/>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B7B13819-0B54-5BCA-0BB5-05E79806F67F}"/>
              </a:ext>
            </a:extLst>
          </p:cNvPr>
          <p:cNvCxnSpPr>
            <a:cxnSpLocks/>
          </p:cNvCxnSpPr>
          <p:nvPr/>
        </p:nvCxnSpPr>
        <p:spPr>
          <a:xfrm flipH="1">
            <a:off x="2160761" y="4806377"/>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3202C9E5-6D92-4607-C939-91D80BFB8410}"/>
              </a:ext>
            </a:extLst>
          </p:cNvPr>
          <p:cNvCxnSpPr>
            <a:cxnSpLocks/>
          </p:cNvCxnSpPr>
          <p:nvPr/>
        </p:nvCxnSpPr>
        <p:spPr>
          <a:xfrm flipH="1">
            <a:off x="3918304" y="4806377"/>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3CA48477-84A3-B62E-9C1C-8D32C2732823}"/>
              </a:ext>
            </a:extLst>
          </p:cNvPr>
          <p:cNvCxnSpPr>
            <a:cxnSpLocks/>
          </p:cNvCxnSpPr>
          <p:nvPr/>
        </p:nvCxnSpPr>
        <p:spPr>
          <a:xfrm flipH="1">
            <a:off x="5675847" y="4806377"/>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55" name="TextBox 54">
            <a:extLst>
              <a:ext uri="{FF2B5EF4-FFF2-40B4-BE49-F238E27FC236}">
                <a16:creationId xmlns:a16="http://schemas.microsoft.com/office/drawing/2014/main" id="{4A934D42-B469-CEBF-9071-E42338C78C7E}"/>
              </a:ext>
            </a:extLst>
          </p:cNvPr>
          <p:cNvSpPr txBox="1"/>
          <p:nvPr/>
        </p:nvSpPr>
        <p:spPr>
          <a:xfrm>
            <a:off x="377595" y="5013045"/>
            <a:ext cx="662361" cy="369332"/>
          </a:xfrm>
          <a:prstGeom prst="rect">
            <a:avLst/>
          </a:prstGeom>
          <a:noFill/>
        </p:spPr>
        <p:txBody>
          <a:bodyPr wrap="none" rtlCol="0">
            <a:spAutoFit/>
          </a:bodyPr>
          <a:lstStyle/>
          <a:p>
            <a:r>
              <a:rPr lang="en-US" dirty="0"/>
              <a:t>Main</a:t>
            </a:r>
          </a:p>
        </p:txBody>
      </p:sp>
      <p:grpSp>
        <p:nvGrpSpPr>
          <p:cNvPr id="56" name="Group 55">
            <a:extLst>
              <a:ext uri="{FF2B5EF4-FFF2-40B4-BE49-F238E27FC236}">
                <a16:creationId xmlns:a16="http://schemas.microsoft.com/office/drawing/2014/main" id="{5BB861D3-8305-63E9-2072-48015D69AC9F}"/>
              </a:ext>
            </a:extLst>
          </p:cNvPr>
          <p:cNvGrpSpPr/>
          <p:nvPr/>
        </p:nvGrpSpPr>
        <p:grpSpPr>
          <a:xfrm>
            <a:off x="5512058" y="2793007"/>
            <a:ext cx="2786243" cy="1028700"/>
            <a:chOff x="5760769" y="1783467"/>
            <a:chExt cx="2786243" cy="1028700"/>
          </a:xfrm>
        </p:grpSpPr>
        <p:sp>
          <p:nvSpPr>
            <p:cNvPr id="57" name="Oval 56">
              <a:extLst>
                <a:ext uri="{FF2B5EF4-FFF2-40B4-BE49-F238E27FC236}">
                  <a16:creationId xmlns:a16="http://schemas.microsoft.com/office/drawing/2014/main" id="{31FD5BC9-B2DA-AABB-29F6-E901A93830A3}"/>
                </a:ext>
              </a:extLst>
            </p:cNvPr>
            <p:cNvSpPr/>
            <p:nvPr/>
          </p:nvSpPr>
          <p:spPr>
            <a:xfrm>
              <a:off x="5760769" y="1783467"/>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 name="Straight Connector 57">
              <a:extLst>
                <a:ext uri="{FF2B5EF4-FFF2-40B4-BE49-F238E27FC236}">
                  <a16:creationId xmlns:a16="http://schemas.microsoft.com/office/drawing/2014/main" id="{951084E2-4189-176D-3BFA-BBFC8E9001B7}"/>
                </a:ext>
              </a:extLst>
            </p:cNvPr>
            <p:cNvCxnSpPr>
              <a:cxnSpLocks/>
            </p:cNvCxnSpPr>
            <p:nvPr/>
          </p:nvCxnSpPr>
          <p:spPr>
            <a:xfrm flipH="1">
              <a:off x="6789469" y="2297817"/>
              <a:ext cx="728843" cy="0"/>
            </a:xfrm>
            <a:prstGeom prst="line">
              <a:avLst/>
            </a:prstGeom>
            <a:ln w="28575">
              <a:solidFill>
                <a:schemeClr val="accent4">
                  <a:lumMod val="75000"/>
                </a:schemeClr>
              </a:solidFill>
            </a:ln>
          </p:spPr>
          <p:style>
            <a:lnRef idx="1">
              <a:schemeClr val="dk1"/>
            </a:lnRef>
            <a:fillRef idx="0">
              <a:schemeClr val="dk1"/>
            </a:fillRef>
            <a:effectRef idx="0">
              <a:schemeClr val="dk1"/>
            </a:effectRef>
            <a:fontRef idx="minor">
              <a:schemeClr val="tx1"/>
            </a:fontRef>
          </p:style>
        </p:cxnSp>
        <p:sp>
          <p:nvSpPr>
            <p:cNvPr id="59" name="Oval 58">
              <a:extLst>
                <a:ext uri="{FF2B5EF4-FFF2-40B4-BE49-F238E27FC236}">
                  <a16:creationId xmlns:a16="http://schemas.microsoft.com/office/drawing/2014/main" id="{C324CC18-B96C-5FFA-0514-F62D2BE7E757}"/>
                </a:ext>
              </a:extLst>
            </p:cNvPr>
            <p:cNvSpPr/>
            <p:nvPr/>
          </p:nvSpPr>
          <p:spPr>
            <a:xfrm>
              <a:off x="7518312" y="1783467"/>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0" name="TextBox 59">
            <a:extLst>
              <a:ext uri="{FF2B5EF4-FFF2-40B4-BE49-F238E27FC236}">
                <a16:creationId xmlns:a16="http://schemas.microsoft.com/office/drawing/2014/main" id="{0717F138-75D3-3158-A567-54936FA41F18}"/>
              </a:ext>
            </a:extLst>
          </p:cNvPr>
          <p:cNvSpPr txBox="1"/>
          <p:nvPr/>
        </p:nvSpPr>
        <p:spPr>
          <a:xfrm>
            <a:off x="8418651" y="3122691"/>
            <a:ext cx="1083951" cy="369332"/>
          </a:xfrm>
          <a:prstGeom prst="rect">
            <a:avLst/>
          </a:prstGeom>
          <a:noFill/>
        </p:spPr>
        <p:txBody>
          <a:bodyPr wrap="none" rtlCol="0">
            <a:spAutoFit/>
          </a:bodyPr>
          <a:lstStyle/>
          <a:p>
            <a:r>
              <a:rPr lang="en-US" dirty="0"/>
              <a:t>Branch 1</a:t>
            </a:r>
          </a:p>
        </p:txBody>
      </p:sp>
      <p:cxnSp>
        <p:nvCxnSpPr>
          <p:cNvPr id="61" name="Straight Connector 60">
            <a:extLst>
              <a:ext uri="{FF2B5EF4-FFF2-40B4-BE49-F238E27FC236}">
                <a16:creationId xmlns:a16="http://schemas.microsoft.com/office/drawing/2014/main" id="{96E7C1CD-6B02-4474-E42F-CF680FB71DB3}"/>
              </a:ext>
            </a:extLst>
          </p:cNvPr>
          <p:cNvCxnSpPr>
            <a:cxnSpLocks/>
          </p:cNvCxnSpPr>
          <p:nvPr/>
        </p:nvCxnSpPr>
        <p:spPr>
          <a:xfrm flipH="1" flipV="1">
            <a:off x="8226813" y="3559973"/>
            <a:ext cx="462319" cy="771667"/>
          </a:xfrm>
          <a:prstGeom prst="line">
            <a:avLst/>
          </a:prstGeom>
          <a:ln w="28575">
            <a:solidFill>
              <a:schemeClr val="accent4">
                <a:lumMod val="75000"/>
              </a:schemeClr>
            </a:solidFill>
            <a:prstDash val="solid"/>
          </a:ln>
        </p:spPr>
        <p:style>
          <a:lnRef idx="1">
            <a:schemeClr val="accent2"/>
          </a:lnRef>
          <a:fillRef idx="0">
            <a:schemeClr val="accent2"/>
          </a:fillRef>
          <a:effectRef idx="0">
            <a:schemeClr val="accent2"/>
          </a:effectRef>
          <a:fontRef idx="minor">
            <a:schemeClr val="tx1"/>
          </a:fontRef>
        </p:style>
      </p:cxnSp>
      <p:cxnSp>
        <p:nvCxnSpPr>
          <p:cNvPr id="62" name="Straight Connector 61">
            <a:extLst>
              <a:ext uri="{FF2B5EF4-FFF2-40B4-BE49-F238E27FC236}">
                <a16:creationId xmlns:a16="http://schemas.microsoft.com/office/drawing/2014/main" id="{31AD664B-5332-61AA-1979-9D8D1B7FCD7B}"/>
              </a:ext>
            </a:extLst>
          </p:cNvPr>
          <p:cNvCxnSpPr>
            <a:cxnSpLocks/>
            <a:stCxn id="63" idx="2"/>
          </p:cNvCxnSpPr>
          <p:nvPr/>
        </p:nvCxnSpPr>
        <p:spPr>
          <a:xfrm flipH="1">
            <a:off x="7433389" y="4806377"/>
            <a:ext cx="965923" cy="0"/>
          </a:xfrm>
          <a:prstGeom prst="line">
            <a:avLst/>
          </a:prstGeom>
          <a:ln w="28575">
            <a:prstDash val="solid"/>
          </a:ln>
        </p:spPr>
        <p:style>
          <a:lnRef idx="1">
            <a:schemeClr val="dk1"/>
          </a:lnRef>
          <a:fillRef idx="0">
            <a:schemeClr val="dk1"/>
          </a:fillRef>
          <a:effectRef idx="0">
            <a:schemeClr val="dk1"/>
          </a:effectRef>
          <a:fontRef idx="minor">
            <a:schemeClr val="tx1"/>
          </a:fontRef>
        </p:style>
      </p:cxnSp>
      <p:sp>
        <p:nvSpPr>
          <p:cNvPr id="63" name="Oval 62">
            <a:extLst>
              <a:ext uri="{FF2B5EF4-FFF2-40B4-BE49-F238E27FC236}">
                <a16:creationId xmlns:a16="http://schemas.microsoft.com/office/drawing/2014/main" id="{DF8BE5C8-E4F9-EADD-AF20-8E0008B1B9A0}"/>
              </a:ext>
            </a:extLst>
          </p:cNvPr>
          <p:cNvSpPr/>
          <p:nvPr/>
        </p:nvSpPr>
        <p:spPr>
          <a:xfrm>
            <a:off x="8399312" y="4292027"/>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5AF580C3-A858-FF35-5047-D3686CCCC5B6}"/>
              </a:ext>
            </a:extLst>
          </p:cNvPr>
          <p:cNvSpPr/>
          <p:nvPr/>
        </p:nvSpPr>
        <p:spPr>
          <a:xfrm>
            <a:off x="4647147" y="4292027"/>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Box 64">
            <a:extLst>
              <a:ext uri="{FF2B5EF4-FFF2-40B4-BE49-F238E27FC236}">
                <a16:creationId xmlns:a16="http://schemas.microsoft.com/office/drawing/2014/main" id="{1F031F6F-1F32-AB37-142C-24CC2CFAEEAD}"/>
              </a:ext>
            </a:extLst>
          </p:cNvPr>
          <p:cNvSpPr txBox="1"/>
          <p:nvPr/>
        </p:nvSpPr>
        <p:spPr>
          <a:xfrm>
            <a:off x="2381362" y="630592"/>
            <a:ext cx="2652347" cy="646331"/>
          </a:xfrm>
          <a:prstGeom prst="rect">
            <a:avLst/>
          </a:prstGeom>
          <a:noFill/>
        </p:spPr>
        <p:txBody>
          <a:bodyPr wrap="square" rtlCol="0">
            <a:spAutoFit/>
          </a:bodyPr>
          <a:lstStyle/>
          <a:p>
            <a:r>
              <a:rPr kumimoji="0" lang="en-US" sz="3600" b="0" i="0" u="none" strike="noStrike" kern="1200" cap="none" spc="0" normalizeH="0" baseline="0" noProof="0" dirty="0">
                <a:ln>
                  <a:noFill/>
                </a:ln>
                <a:solidFill>
                  <a:srgbClr val="5FCBEF"/>
                </a:solidFill>
                <a:effectLst/>
                <a:uLnTx/>
                <a:uFillTx/>
                <a:latin typeface="Trebuchet MS" panose="020B0603020202020204"/>
                <a:ea typeface="+mj-ea"/>
                <a:cs typeface="+mj-cs"/>
              </a:rPr>
              <a:t>– Conflict!</a:t>
            </a:r>
            <a:endParaRPr lang="en-US" dirty="0"/>
          </a:p>
        </p:txBody>
      </p:sp>
      <p:pic>
        <p:nvPicPr>
          <p:cNvPr id="69" name="Graphic 68" descr="Close outline">
            <a:extLst>
              <a:ext uri="{FF2B5EF4-FFF2-40B4-BE49-F238E27FC236}">
                <a16:creationId xmlns:a16="http://schemas.microsoft.com/office/drawing/2014/main" id="{BFFF1008-2C07-CB38-3D0F-0B32E6E19A9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74350" y="4477730"/>
            <a:ext cx="684000" cy="684000"/>
          </a:xfrm>
          <a:prstGeom prst="rect">
            <a:avLst/>
          </a:prstGeom>
        </p:spPr>
      </p:pic>
      <p:pic>
        <p:nvPicPr>
          <p:cNvPr id="70" name="Graphic 69" descr="Close outline">
            <a:extLst>
              <a:ext uri="{FF2B5EF4-FFF2-40B4-BE49-F238E27FC236}">
                <a16:creationId xmlns:a16="http://schemas.microsoft.com/office/drawing/2014/main" id="{171B9A98-0D3A-24EC-E749-B863AD10646C}"/>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700000">
            <a:off x="8178007" y="3655598"/>
            <a:ext cx="684000" cy="684000"/>
          </a:xfrm>
          <a:prstGeom prst="rect">
            <a:avLst/>
          </a:prstGeom>
        </p:spPr>
      </p:pic>
    </p:spTree>
    <p:extLst>
      <p:ext uri="{BB962C8B-B14F-4D97-AF65-F5344CB8AC3E}">
        <p14:creationId xmlns:p14="http://schemas.microsoft.com/office/powerpoint/2010/main" val="809716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9" presetClass="emph" presetSubtype="0" nodeType="withEffect">
                                  <p:stCondLst>
                                    <p:cond delay="0"/>
                                  </p:stCondLst>
                                  <p:childTnLst>
                                    <p:set>
                                      <p:cBhvr>
                                        <p:cTn id="10" dur="indefinite"/>
                                        <p:tgtEl>
                                          <p:spTgt spid="61"/>
                                        </p:tgtEl>
                                        <p:attrNameLst>
                                          <p:attrName>style.opacity</p:attrName>
                                        </p:attrNameLst>
                                      </p:cBhvr>
                                      <p:to>
                                        <p:strVal val="0.25"/>
                                      </p:to>
                                    </p:set>
                                    <p:animEffect filter="image" prLst="opacity: 0.25">
                                      <p:cBhvr rctx="IE">
                                        <p:cTn id="11" dur="indefinite"/>
                                        <p:tgtEl>
                                          <p:spTgt spid="61"/>
                                        </p:tgtEl>
                                      </p:cBhvr>
                                    </p:animEffect>
                                  </p:childTnLst>
                                </p:cTn>
                              </p:par>
                              <p:par>
                                <p:cTn id="12" presetID="9" presetClass="emph" presetSubtype="0" nodeType="withEffect">
                                  <p:stCondLst>
                                    <p:cond delay="0"/>
                                  </p:stCondLst>
                                  <p:childTnLst>
                                    <p:set>
                                      <p:cBhvr>
                                        <p:cTn id="13" dur="indefinite"/>
                                        <p:tgtEl>
                                          <p:spTgt spid="62"/>
                                        </p:tgtEl>
                                        <p:attrNameLst>
                                          <p:attrName>style.opacity</p:attrName>
                                        </p:attrNameLst>
                                      </p:cBhvr>
                                      <p:to>
                                        <p:strVal val="0.25"/>
                                      </p:to>
                                    </p:set>
                                    <p:animEffect filter="image" prLst="opacity: 0.25">
                                      <p:cBhvr rctx="IE">
                                        <p:cTn id="14" dur="indefinite"/>
                                        <p:tgtEl>
                                          <p:spTgt spid="62"/>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D7D99-9981-2EF2-7EC7-D8501344AF98}"/>
              </a:ext>
            </a:extLst>
          </p:cNvPr>
          <p:cNvSpPr>
            <a:spLocks noGrp="1"/>
          </p:cNvSpPr>
          <p:nvPr>
            <p:ph type="title"/>
          </p:nvPr>
        </p:nvSpPr>
        <p:spPr/>
        <p:txBody>
          <a:bodyPr/>
          <a:lstStyle/>
          <a:p>
            <a:r>
              <a:rPr lang="en-US" dirty="0"/>
              <a:t>Merging – Conflict! </a:t>
            </a:r>
          </a:p>
        </p:txBody>
      </p:sp>
      <p:grpSp>
        <p:nvGrpSpPr>
          <p:cNvPr id="29" name="Group 28">
            <a:extLst>
              <a:ext uri="{FF2B5EF4-FFF2-40B4-BE49-F238E27FC236}">
                <a16:creationId xmlns:a16="http://schemas.microsoft.com/office/drawing/2014/main" id="{208CF55E-A3DE-8170-51DC-A5FC7C6826EF}"/>
              </a:ext>
            </a:extLst>
          </p:cNvPr>
          <p:cNvGrpSpPr/>
          <p:nvPr/>
        </p:nvGrpSpPr>
        <p:grpSpPr>
          <a:xfrm>
            <a:off x="7158292" y="630592"/>
            <a:ext cx="1342989" cy="1304396"/>
            <a:chOff x="8447460" y="415396"/>
            <a:chExt cx="1342989" cy="1304396"/>
          </a:xfrm>
        </p:grpSpPr>
        <p:sp>
          <p:nvSpPr>
            <p:cNvPr id="27" name="Content Placeholder 4" descr="Fencing with solid fill">
              <a:extLst>
                <a:ext uri="{FF2B5EF4-FFF2-40B4-BE49-F238E27FC236}">
                  <a16:creationId xmlns:a16="http://schemas.microsoft.com/office/drawing/2014/main" id="{8B4EB98C-A5E9-5284-B7DC-64BA5662189F}"/>
                </a:ext>
              </a:extLst>
            </p:cNvPr>
            <p:cNvSpPr/>
            <p:nvPr/>
          </p:nvSpPr>
          <p:spPr>
            <a:xfrm>
              <a:off x="8447460" y="415396"/>
              <a:ext cx="1342989" cy="1304396"/>
            </a:xfrm>
            <a:custGeom>
              <a:avLst/>
              <a:gdLst>
                <a:gd name="connsiteX0" fmla="*/ 1329422 w 1342989"/>
                <a:gd name="connsiteY0" fmla="*/ 1213076 h 1304396"/>
                <a:gd name="connsiteX1" fmla="*/ 1141512 w 1342989"/>
                <a:gd name="connsiteY1" fmla="*/ 1025165 h 1304396"/>
                <a:gd name="connsiteX2" fmla="*/ 1222296 w 1342989"/>
                <a:gd name="connsiteY2" fmla="*/ 944381 h 1304396"/>
                <a:gd name="connsiteX3" fmla="*/ 1222296 w 1342989"/>
                <a:gd name="connsiteY3" fmla="*/ 907502 h 1304396"/>
                <a:gd name="connsiteX4" fmla="*/ 1211759 w 1342989"/>
                <a:gd name="connsiteY4" fmla="*/ 900477 h 1304396"/>
                <a:gd name="connsiteX5" fmla="*/ 1027361 w 1342989"/>
                <a:gd name="connsiteY5" fmla="*/ 933844 h 1304396"/>
                <a:gd name="connsiteX6" fmla="*/ 720031 w 1342989"/>
                <a:gd name="connsiteY6" fmla="*/ 633539 h 1304396"/>
                <a:gd name="connsiteX7" fmla="*/ 1299567 w 1342989"/>
                <a:gd name="connsiteY7" fmla="*/ 38197 h 1304396"/>
                <a:gd name="connsiteX8" fmla="*/ 1299567 w 1342989"/>
                <a:gd name="connsiteY8" fmla="*/ 6586 h 1304396"/>
                <a:gd name="connsiteX9" fmla="*/ 1267956 w 1342989"/>
                <a:gd name="connsiteY9" fmla="*/ 6586 h 1304396"/>
                <a:gd name="connsiteX10" fmla="*/ 672614 w 1342989"/>
                <a:gd name="connsiteY10" fmla="*/ 587879 h 1304396"/>
                <a:gd name="connsiteX11" fmla="*/ 77272 w 1342989"/>
                <a:gd name="connsiteY11" fmla="*/ 6586 h 1304396"/>
                <a:gd name="connsiteX12" fmla="*/ 45660 w 1342989"/>
                <a:gd name="connsiteY12" fmla="*/ 8342 h 1304396"/>
                <a:gd name="connsiteX13" fmla="*/ 45660 w 1342989"/>
                <a:gd name="connsiteY13" fmla="*/ 38197 h 1304396"/>
                <a:gd name="connsiteX14" fmla="*/ 625197 w 1342989"/>
                <a:gd name="connsiteY14" fmla="*/ 633539 h 1304396"/>
                <a:gd name="connsiteX15" fmla="*/ 317867 w 1342989"/>
                <a:gd name="connsiteY15" fmla="*/ 933844 h 1304396"/>
                <a:gd name="connsiteX16" fmla="*/ 133469 w 1342989"/>
                <a:gd name="connsiteY16" fmla="*/ 900477 h 1304396"/>
                <a:gd name="connsiteX17" fmla="*/ 115907 w 1342989"/>
                <a:gd name="connsiteY17" fmla="*/ 933844 h 1304396"/>
                <a:gd name="connsiteX18" fmla="*/ 122932 w 1342989"/>
                <a:gd name="connsiteY18" fmla="*/ 944381 h 1304396"/>
                <a:gd name="connsiteX19" fmla="*/ 203716 w 1342989"/>
                <a:gd name="connsiteY19" fmla="*/ 1025165 h 1304396"/>
                <a:gd name="connsiteX20" fmla="*/ 15806 w 1342989"/>
                <a:gd name="connsiteY20" fmla="*/ 1213076 h 1304396"/>
                <a:gd name="connsiteX21" fmla="*/ 15806 w 1342989"/>
                <a:gd name="connsiteY21" fmla="*/ 1286835 h 1304396"/>
                <a:gd name="connsiteX22" fmla="*/ 89565 w 1342989"/>
                <a:gd name="connsiteY22" fmla="*/ 1286835 h 1304396"/>
                <a:gd name="connsiteX23" fmla="*/ 89565 w 1342989"/>
                <a:gd name="connsiteY23" fmla="*/ 1286835 h 1304396"/>
                <a:gd name="connsiteX24" fmla="*/ 103614 w 1342989"/>
                <a:gd name="connsiteY24" fmla="*/ 1272786 h 1304396"/>
                <a:gd name="connsiteX25" fmla="*/ 374065 w 1342989"/>
                <a:gd name="connsiteY25" fmla="*/ 1183221 h 1304396"/>
                <a:gd name="connsiteX26" fmla="*/ 395139 w 1342989"/>
                <a:gd name="connsiteY26" fmla="*/ 1098925 h 1304396"/>
                <a:gd name="connsiteX27" fmla="*/ 395139 w 1342989"/>
                <a:gd name="connsiteY27" fmla="*/ 1097168 h 1304396"/>
                <a:gd name="connsiteX28" fmla="*/ 393382 w 1342989"/>
                <a:gd name="connsiteY28" fmla="*/ 1070826 h 1304396"/>
                <a:gd name="connsiteX29" fmla="*/ 393382 w 1342989"/>
                <a:gd name="connsiteY29" fmla="*/ 1069070 h 1304396"/>
                <a:gd name="connsiteX30" fmla="*/ 389870 w 1342989"/>
                <a:gd name="connsiteY30" fmla="*/ 1046239 h 1304396"/>
                <a:gd name="connsiteX31" fmla="*/ 388114 w 1342989"/>
                <a:gd name="connsiteY31" fmla="*/ 1040971 h 1304396"/>
                <a:gd name="connsiteX32" fmla="*/ 381089 w 1342989"/>
                <a:gd name="connsiteY32" fmla="*/ 1019897 h 1304396"/>
                <a:gd name="connsiteX33" fmla="*/ 381089 w 1342989"/>
                <a:gd name="connsiteY33" fmla="*/ 1018141 h 1304396"/>
                <a:gd name="connsiteX34" fmla="*/ 370552 w 1342989"/>
                <a:gd name="connsiteY34" fmla="*/ 995310 h 1304396"/>
                <a:gd name="connsiteX35" fmla="*/ 368796 w 1342989"/>
                <a:gd name="connsiteY35" fmla="*/ 991798 h 1304396"/>
                <a:gd name="connsiteX36" fmla="*/ 672614 w 1342989"/>
                <a:gd name="connsiteY36" fmla="*/ 680956 h 1304396"/>
                <a:gd name="connsiteX37" fmla="*/ 976432 w 1342989"/>
                <a:gd name="connsiteY37" fmla="*/ 991798 h 1304396"/>
                <a:gd name="connsiteX38" fmla="*/ 974675 w 1342989"/>
                <a:gd name="connsiteY38" fmla="*/ 995310 h 1304396"/>
                <a:gd name="connsiteX39" fmla="*/ 964138 w 1342989"/>
                <a:gd name="connsiteY39" fmla="*/ 1018141 h 1304396"/>
                <a:gd name="connsiteX40" fmla="*/ 962382 w 1342989"/>
                <a:gd name="connsiteY40" fmla="*/ 1021653 h 1304396"/>
                <a:gd name="connsiteX41" fmla="*/ 955358 w 1342989"/>
                <a:gd name="connsiteY41" fmla="*/ 1042727 h 1304396"/>
                <a:gd name="connsiteX42" fmla="*/ 953601 w 1342989"/>
                <a:gd name="connsiteY42" fmla="*/ 1049752 h 1304396"/>
                <a:gd name="connsiteX43" fmla="*/ 950089 w 1342989"/>
                <a:gd name="connsiteY43" fmla="*/ 1070826 h 1304396"/>
                <a:gd name="connsiteX44" fmla="*/ 950089 w 1342989"/>
                <a:gd name="connsiteY44" fmla="*/ 1072582 h 1304396"/>
                <a:gd name="connsiteX45" fmla="*/ 948333 w 1342989"/>
                <a:gd name="connsiteY45" fmla="*/ 1098925 h 1304396"/>
                <a:gd name="connsiteX46" fmla="*/ 948333 w 1342989"/>
                <a:gd name="connsiteY46" fmla="*/ 1100681 h 1304396"/>
                <a:gd name="connsiteX47" fmla="*/ 1155561 w 1342989"/>
                <a:gd name="connsiteY47" fmla="*/ 1295616 h 1304396"/>
                <a:gd name="connsiteX48" fmla="*/ 1238101 w 1342989"/>
                <a:gd name="connsiteY48" fmla="*/ 1274542 h 1304396"/>
                <a:gd name="connsiteX49" fmla="*/ 1252151 w 1342989"/>
                <a:gd name="connsiteY49" fmla="*/ 1288591 h 1304396"/>
                <a:gd name="connsiteX50" fmla="*/ 1325910 w 1342989"/>
                <a:gd name="connsiteY50" fmla="*/ 1288591 h 1304396"/>
                <a:gd name="connsiteX51" fmla="*/ 1329422 w 1342989"/>
                <a:gd name="connsiteY51" fmla="*/ 1213076 h 1304396"/>
                <a:gd name="connsiteX52" fmla="*/ 298549 w 1342989"/>
                <a:gd name="connsiteY52" fmla="*/ 1199026 h 1304396"/>
                <a:gd name="connsiteX53" fmla="*/ 144006 w 1342989"/>
                <a:gd name="connsiteY53" fmla="*/ 1234150 h 1304396"/>
                <a:gd name="connsiteX54" fmla="*/ 277475 w 1342989"/>
                <a:gd name="connsiteY54" fmla="*/ 1100681 h 1304396"/>
                <a:gd name="connsiteX55" fmla="*/ 300305 w 1342989"/>
                <a:gd name="connsiteY55" fmla="*/ 1123511 h 1304396"/>
                <a:gd name="connsiteX56" fmla="*/ 302062 w 1342989"/>
                <a:gd name="connsiteY56" fmla="*/ 1197270 h 1304396"/>
                <a:gd name="connsiteX57" fmla="*/ 298549 w 1342989"/>
                <a:gd name="connsiteY57" fmla="*/ 1199026 h 1304396"/>
                <a:gd name="connsiteX58" fmla="*/ 1043166 w 1342989"/>
                <a:gd name="connsiteY58" fmla="*/ 1195514 h 1304396"/>
                <a:gd name="connsiteX59" fmla="*/ 1044922 w 1342989"/>
                <a:gd name="connsiteY59" fmla="*/ 1121755 h 1304396"/>
                <a:gd name="connsiteX60" fmla="*/ 1067753 w 1342989"/>
                <a:gd name="connsiteY60" fmla="*/ 1098925 h 1304396"/>
                <a:gd name="connsiteX61" fmla="*/ 1201222 w 1342989"/>
                <a:gd name="connsiteY61" fmla="*/ 1232394 h 1304396"/>
                <a:gd name="connsiteX62" fmla="*/ 1046679 w 1342989"/>
                <a:gd name="connsiteY62" fmla="*/ 1197270 h 1304396"/>
                <a:gd name="connsiteX63" fmla="*/ 1043166 w 1342989"/>
                <a:gd name="connsiteY63" fmla="*/ 1195514 h 130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342989" h="1304396">
                  <a:moveTo>
                    <a:pt x="1329422" y="1213076"/>
                  </a:moveTo>
                  <a:lnTo>
                    <a:pt x="1141512" y="1025165"/>
                  </a:lnTo>
                  <a:lnTo>
                    <a:pt x="1222296" y="944381"/>
                  </a:lnTo>
                  <a:cubicBezTo>
                    <a:pt x="1232833" y="933844"/>
                    <a:pt x="1232833" y="918039"/>
                    <a:pt x="1222296" y="907502"/>
                  </a:cubicBezTo>
                  <a:cubicBezTo>
                    <a:pt x="1218783" y="903990"/>
                    <a:pt x="1215271" y="902233"/>
                    <a:pt x="1211759" y="900477"/>
                  </a:cubicBezTo>
                  <a:cubicBezTo>
                    <a:pt x="1148536" y="881159"/>
                    <a:pt x="1080046" y="893452"/>
                    <a:pt x="1027361" y="933844"/>
                  </a:cubicBezTo>
                  <a:lnTo>
                    <a:pt x="720031" y="633539"/>
                  </a:lnTo>
                  <a:lnTo>
                    <a:pt x="1299567" y="38197"/>
                  </a:lnTo>
                  <a:cubicBezTo>
                    <a:pt x="1308348" y="29416"/>
                    <a:pt x="1308348" y="15367"/>
                    <a:pt x="1299567" y="6586"/>
                  </a:cubicBezTo>
                  <a:cubicBezTo>
                    <a:pt x="1290786" y="-2195"/>
                    <a:pt x="1276737" y="-2195"/>
                    <a:pt x="1267956" y="6586"/>
                  </a:cubicBezTo>
                  <a:lnTo>
                    <a:pt x="672614" y="587879"/>
                  </a:lnTo>
                  <a:lnTo>
                    <a:pt x="77272" y="6586"/>
                  </a:lnTo>
                  <a:cubicBezTo>
                    <a:pt x="68491" y="-2195"/>
                    <a:pt x="54441" y="-439"/>
                    <a:pt x="45660" y="8342"/>
                  </a:cubicBezTo>
                  <a:cubicBezTo>
                    <a:pt x="36880" y="17123"/>
                    <a:pt x="36880" y="29416"/>
                    <a:pt x="45660" y="38197"/>
                  </a:cubicBezTo>
                  <a:lnTo>
                    <a:pt x="625197" y="633539"/>
                  </a:lnTo>
                  <a:lnTo>
                    <a:pt x="317867" y="933844"/>
                  </a:lnTo>
                  <a:cubicBezTo>
                    <a:pt x="265182" y="893452"/>
                    <a:pt x="196691" y="881159"/>
                    <a:pt x="133469" y="900477"/>
                  </a:cubicBezTo>
                  <a:cubicBezTo>
                    <a:pt x="119420" y="903990"/>
                    <a:pt x="112395" y="919795"/>
                    <a:pt x="115907" y="933844"/>
                  </a:cubicBezTo>
                  <a:cubicBezTo>
                    <a:pt x="117664" y="937357"/>
                    <a:pt x="119420" y="940869"/>
                    <a:pt x="122932" y="944381"/>
                  </a:cubicBezTo>
                  <a:lnTo>
                    <a:pt x="203716" y="1025165"/>
                  </a:lnTo>
                  <a:lnTo>
                    <a:pt x="15806" y="1213076"/>
                  </a:lnTo>
                  <a:cubicBezTo>
                    <a:pt x="-5269" y="1234150"/>
                    <a:pt x="-5269" y="1267517"/>
                    <a:pt x="15806" y="1286835"/>
                  </a:cubicBezTo>
                  <a:cubicBezTo>
                    <a:pt x="36880" y="1307909"/>
                    <a:pt x="70247" y="1307909"/>
                    <a:pt x="89565" y="1286835"/>
                  </a:cubicBezTo>
                  <a:cubicBezTo>
                    <a:pt x="89565" y="1286835"/>
                    <a:pt x="89565" y="1286835"/>
                    <a:pt x="89565" y="1286835"/>
                  </a:cubicBezTo>
                  <a:lnTo>
                    <a:pt x="103614" y="1272786"/>
                  </a:lnTo>
                  <a:cubicBezTo>
                    <a:pt x="203716" y="1321958"/>
                    <a:pt x="324892" y="1281566"/>
                    <a:pt x="374065" y="1183221"/>
                  </a:cubicBezTo>
                  <a:cubicBezTo>
                    <a:pt x="386358" y="1156878"/>
                    <a:pt x="395139" y="1128780"/>
                    <a:pt x="395139" y="1098925"/>
                  </a:cubicBezTo>
                  <a:cubicBezTo>
                    <a:pt x="395139" y="1098925"/>
                    <a:pt x="395139" y="1097168"/>
                    <a:pt x="395139" y="1097168"/>
                  </a:cubicBezTo>
                  <a:cubicBezTo>
                    <a:pt x="395139" y="1088388"/>
                    <a:pt x="395139" y="1079607"/>
                    <a:pt x="393382" y="1070826"/>
                  </a:cubicBezTo>
                  <a:cubicBezTo>
                    <a:pt x="393382" y="1070826"/>
                    <a:pt x="393382" y="1069070"/>
                    <a:pt x="393382" y="1069070"/>
                  </a:cubicBezTo>
                  <a:cubicBezTo>
                    <a:pt x="391626" y="1062045"/>
                    <a:pt x="391626" y="1053264"/>
                    <a:pt x="389870" y="1046239"/>
                  </a:cubicBezTo>
                  <a:cubicBezTo>
                    <a:pt x="389870" y="1044483"/>
                    <a:pt x="388114" y="1042727"/>
                    <a:pt x="388114" y="1040971"/>
                  </a:cubicBezTo>
                  <a:cubicBezTo>
                    <a:pt x="386358" y="1033946"/>
                    <a:pt x="384602" y="1026921"/>
                    <a:pt x="381089" y="1019897"/>
                  </a:cubicBezTo>
                  <a:cubicBezTo>
                    <a:pt x="381089" y="1019897"/>
                    <a:pt x="381089" y="1018141"/>
                    <a:pt x="381089" y="1018141"/>
                  </a:cubicBezTo>
                  <a:cubicBezTo>
                    <a:pt x="377577" y="1011116"/>
                    <a:pt x="374065" y="1002335"/>
                    <a:pt x="370552" y="995310"/>
                  </a:cubicBezTo>
                  <a:cubicBezTo>
                    <a:pt x="370552" y="993554"/>
                    <a:pt x="368796" y="993554"/>
                    <a:pt x="368796" y="991798"/>
                  </a:cubicBezTo>
                  <a:lnTo>
                    <a:pt x="672614" y="680956"/>
                  </a:lnTo>
                  <a:lnTo>
                    <a:pt x="976432" y="991798"/>
                  </a:lnTo>
                  <a:cubicBezTo>
                    <a:pt x="976432" y="993554"/>
                    <a:pt x="974675" y="993554"/>
                    <a:pt x="974675" y="995310"/>
                  </a:cubicBezTo>
                  <a:cubicBezTo>
                    <a:pt x="971163" y="1002335"/>
                    <a:pt x="967651" y="1009360"/>
                    <a:pt x="964138" y="1018141"/>
                  </a:cubicBezTo>
                  <a:cubicBezTo>
                    <a:pt x="964138" y="1019897"/>
                    <a:pt x="964138" y="1019897"/>
                    <a:pt x="962382" y="1021653"/>
                  </a:cubicBezTo>
                  <a:cubicBezTo>
                    <a:pt x="960626" y="1028678"/>
                    <a:pt x="957114" y="1035702"/>
                    <a:pt x="955358" y="1042727"/>
                  </a:cubicBezTo>
                  <a:cubicBezTo>
                    <a:pt x="955358" y="1044483"/>
                    <a:pt x="953601" y="1046239"/>
                    <a:pt x="953601" y="1049752"/>
                  </a:cubicBezTo>
                  <a:cubicBezTo>
                    <a:pt x="951845" y="1056777"/>
                    <a:pt x="950089" y="1063801"/>
                    <a:pt x="950089" y="1070826"/>
                  </a:cubicBezTo>
                  <a:cubicBezTo>
                    <a:pt x="950089" y="1070826"/>
                    <a:pt x="950089" y="1072582"/>
                    <a:pt x="950089" y="1072582"/>
                  </a:cubicBezTo>
                  <a:cubicBezTo>
                    <a:pt x="950089" y="1081363"/>
                    <a:pt x="948333" y="1090144"/>
                    <a:pt x="948333" y="1098925"/>
                  </a:cubicBezTo>
                  <a:cubicBezTo>
                    <a:pt x="948333" y="1098925"/>
                    <a:pt x="948333" y="1100681"/>
                    <a:pt x="948333" y="1100681"/>
                  </a:cubicBezTo>
                  <a:cubicBezTo>
                    <a:pt x="951845" y="1211320"/>
                    <a:pt x="1044922" y="1299128"/>
                    <a:pt x="1155561" y="1295616"/>
                  </a:cubicBezTo>
                  <a:cubicBezTo>
                    <a:pt x="1183660" y="1293860"/>
                    <a:pt x="1213515" y="1286835"/>
                    <a:pt x="1238101" y="1274542"/>
                  </a:cubicBezTo>
                  <a:lnTo>
                    <a:pt x="1252151" y="1288591"/>
                  </a:lnTo>
                  <a:cubicBezTo>
                    <a:pt x="1273225" y="1309665"/>
                    <a:pt x="1306592" y="1309665"/>
                    <a:pt x="1325910" y="1288591"/>
                  </a:cubicBezTo>
                  <a:cubicBezTo>
                    <a:pt x="1345228" y="1267517"/>
                    <a:pt x="1350496" y="1234150"/>
                    <a:pt x="1329422" y="1213076"/>
                  </a:cubicBezTo>
                  <a:close/>
                  <a:moveTo>
                    <a:pt x="298549" y="1199026"/>
                  </a:moveTo>
                  <a:cubicBezTo>
                    <a:pt x="258157" y="1239418"/>
                    <a:pt x="198447" y="1253468"/>
                    <a:pt x="144006" y="1234150"/>
                  </a:cubicBezTo>
                  <a:lnTo>
                    <a:pt x="277475" y="1100681"/>
                  </a:lnTo>
                  <a:lnTo>
                    <a:pt x="300305" y="1123511"/>
                  </a:lnTo>
                  <a:cubicBezTo>
                    <a:pt x="319623" y="1142829"/>
                    <a:pt x="321379" y="1176196"/>
                    <a:pt x="302062" y="1197270"/>
                  </a:cubicBezTo>
                  <a:lnTo>
                    <a:pt x="298549" y="1199026"/>
                  </a:lnTo>
                  <a:close/>
                  <a:moveTo>
                    <a:pt x="1043166" y="1195514"/>
                  </a:moveTo>
                  <a:cubicBezTo>
                    <a:pt x="1023848" y="1174440"/>
                    <a:pt x="1023848" y="1142829"/>
                    <a:pt x="1044922" y="1121755"/>
                  </a:cubicBezTo>
                  <a:lnTo>
                    <a:pt x="1067753" y="1098925"/>
                  </a:lnTo>
                  <a:lnTo>
                    <a:pt x="1201222" y="1232394"/>
                  </a:lnTo>
                  <a:cubicBezTo>
                    <a:pt x="1146780" y="1251712"/>
                    <a:pt x="1087070" y="1237662"/>
                    <a:pt x="1046679" y="1197270"/>
                  </a:cubicBezTo>
                  <a:lnTo>
                    <a:pt x="1043166" y="1195514"/>
                  </a:lnTo>
                  <a:close/>
                </a:path>
              </a:pathLst>
            </a:custGeom>
            <a:solidFill>
              <a:schemeClr val="accent5">
                <a:lumMod val="20000"/>
                <a:lumOff val="80000"/>
              </a:schemeClr>
            </a:solidFill>
            <a:ln w="17562" cap="flat">
              <a:noFill/>
              <a:prstDash val="solid"/>
              <a:miter/>
            </a:ln>
          </p:spPr>
          <p:txBody>
            <a:bodyPr rtlCol="0" anchor="ctr"/>
            <a:lstStyle/>
            <a:p>
              <a:endParaRPr lang="en-US"/>
            </a:p>
          </p:txBody>
        </p:sp>
        <p:sp>
          <p:nvSpPr>
            <p:cNvPr id="28" name="Graphic 6" descr="Fencing outline">
              <a:extLst>
                <a:ext uri="{FF2B5EF4-FFF2-40B4-BE49-F238E27FC236}">
                  <a16:creationId xmlns:a16="http://schemas.microsoft.com/office/drawing/2014/main" id="{8833242B-3F49-ADC5-B6BE-B00512E2433A}"/>
                </a:ext>
              </a:extLst>
            </p:cNvPr>
            <p:cNvSpPr/>
            <p:nvPr/>
          </p:nvSpPr>
          <p:spPr>
            <a:xfrm>
              <a:off x="8469331" y="428763"/>
              <a:ext cx="1299209" cy="1282248"/>
            </a:xfrm>
            <a:custGeom>
              <a:avLst/>
              <a:gdLst>
                <a:gd name="connsiteX0" fmla="*/ 1288234 w 1299209"/>
                <a:gd name="connsiteY0" fmla="*/ 1227807 h 1282248"/>
                <a:gd name="connsiteX1" fmla="*/ 1095055 w 1299209"/>
                <a:gd name="connsiteY1" fmla="*/ 1038141 h 1282248"/>
                <a:gd name="connsiteX2" fmla="*/ 1207450 w 1299209"/>
                <a:gd name="connsiteY2" fmla="*/ 925746 h 1282248"/>
                <a:gd name="connsiteX3" fmla="*/ 1207450 w 1299209"/>
                <a:gd name="connsiteY3" fmla="*/ 901159 h 1282248"/>
                <a:gd name="connsiteX4" fmla="*/ 1202181 w 1299209"/>
                <a:gd name="connsiteY4" fmla="*/ 897647 h 1282248"/>
                <a:gd name="connsiteX5" fmla="*/ 1116129 w 1299209"/>
                <a:gd name="connsiteY5" fmla="*/ 878329 h 1282248"/>
                <a:gd name="connsiteX6" fmla="*/ 984416 w 1299209"/>
                <a:gd name="connsiteY6" fmla="*/ 927502 h 1282248"/>
                <a:gd name="connsiteX7" fmla="*/ 675330 w 1299209"/>
                <a:gd name="connsiteY7" fmla="*/ 623684 h 1282248"/>
                <a:gd name="connsiteX8" fmla="*/ 1277697 w 1299209"/>
                <a:gd name="connsiteY8" fmla="*/ 30098 h 1282248"/>
                <a:gd name="connsiteX9" fmla="*/ 1275940 w 1299209"/>
                <a:gd name="connsiteY9" fmla="*/ 5512 h 1282248"/>
                <a:gd name="connsiteX10" fmla="*/ 1253110 w 1299209"/>
                <a:gd name="connsiteY10" fmla="*/ 5512 h 1282248"/>
                <a:gd name="connsiteX11" fmla="*/ 650743 w 1299209"/>
                <a:gd name="connsiteY11" fmla="*/ 599098 h 1282248"/>
                <a:gd name="connsiteX12" fmla="*/ 48376 w 1299209"/>
                <a:gd name="connsiteY12" fmla="*/ 5512 h 1282248"/>
                <a:gd name="connsiteX13" fmla="*/ 23790 w 1299209"/>
                <a:gd name="connsiteY13" fmla="*/ 3755 h 1282248"/>
                <a:gd name="connsiteX14" fmla="*/ 22034 w 1299209"/>
                <a:gd name="connsiteY14" fmla="*/ 28342 h 1282248"/>
                <a:gd name="connsiteX15" fmla="*/ 23790 w 1299209"/>
                <a:gd name="connsiteY15" fmla="*/ 30098 h 1282248"/>
                <a:gd name="connsiteX16" fmla="*/ 626157 w 1299209"/>
                <a:gd name="connsiteY16" fmla="*/ 623684 h 1282248"/>
                <a:gd name="connsiteX17" fmla="*/ 317071 w 1299209"/>
                <a:gd name="connsiteY17" fmla="*/ 927502 h 1282248"/>
                <a:gd name="connsiteX18" fmla="*/ 185358 w 1299209"/>
                <a:gd name="connsiteY18" fmla="*/ 878329 h 1282248"/>
                <a:gd name="connsiteX19" fmla="*/ 99305 w 1299209"/>
                <a:gd name="connsiteY19" fmla="*/ 897647 h 1282248"/>
                <a:gd name="connsiteX20" fmla="*/ 90524 w 1299209"/>
                <a:gd name="connsiteY20" fmla="*/ 920477 h 1282248"/>
                <a:gd name="connsiteX21" fmla="*/ 94037 w 1299209"/>
                <a:gd name="connsiteY21" fmla="*/ 925746 h 1282248"/>
                <a:gd name="connsiteX22" fmla="*/ 206432 w 1299209"/>
                <a:gd name="connsiteY22" fmla="*/ 1038141 h 1282248"/>
                <a:gd name="connsiteX23" fmla="*/ 6228 w 1299209"/>
                <a:gd name="connsiteY23" fmla="*/ 1234832 h 1282248"/>
                <a:gd name="connsiteX24" fmla="*/ 4472 w 1299209"/>
                <a:gd name="connsiteY24" fmla="*/ 1259418 h 1282248"/>
                <a:gd name="connsiteX25" fmla="*/ 29058 w 1299209"/>
                <a:gd name="connsiteY25" fmla="*/ 1261175 h 1282248"/>
                <a:gd name="connsiteX26" fmla="*/ 30814 w 1299209"/>
                <a:gd name="connsiteY26" fmla="*/ 1259418 h 1282248"/>
                <a:gd name="connsiteX27" fmla="*/ 55401 w 1299209"/>
                <a:gd name="connsiteY27" fmla="*/ 1234832 h 1282248"/>
                <a:gd name="connsiteX28" fmla="*/ 185358 w 1299209"/>
                <a:gd name="connsiteY28" fmla="*/ 1282249 h 1282248"/>
                <a:gd name="connsiteX29" fmla="*/ 204676 w 1299209"/>
                <a:gd name="connsiteY29" fmla="*/ 1280493 h 1282248"/>
                <a:gd name="connsiteX30" fmla="*/ 304777 w 1299209"/>
                <a:gd name="connsiteY30" fmla="*/ 1241857 h 1282248"/>
                <a:gd name="connsiteX31" fmla="*/ 311802 w 1299209"/>
                <a:gd name="connsiteY31" fmla="*/ 1236588 h 1282248"/>
                <a:gd name="connsiteX32" fmla="*/ 343413 w 1299209"/>
                <a:gd name="connsiteY32" fmla="*/ 953845 h 1282248"/>
                <a:gd name="connsiteX33" fmla="*/ 341657 w 1299209"/>
                <a:gd name="connsiteY33" fmla="*/ 952088 h 1282248"/>
                <a:gd name="connsiteX34" fmla="*/ 650743 w 1299209"/>
                <a:gd name="connsiteY34" fmla="*/ 648271 h 1282248"/>
                <a:gd name="connsiteX35" fmla="*/ 959829 w 1299209"/>
                <a:gd name="connsiteY35" fmla="*/ 952088 h 1282248"/>
                <a:gd name="connsiteX36" fmla="*/ 987928 w 1299209"/>
                <a:gd name="connsiteY36" fmla="*/ 1234832 h 1282248"/>
                <a:gd name="connsiteX37" fmla="*/ 989684 w 1299209"/>
                <a:gd name="connsiteY37" fmla="*/ 1236588 h 1282248"/>
                <a:gd name="connsiteX38" fmla="*/ 996709 w 1299209"/>
                <a:gd name="connsiteY38" fmla="*/ 1241857 h 1282248"/>
                <a:gd name="connsiteX39" fmla="*/ 1096811 w 1299209"/>
                <a:gd name="connsiteY39" fmla="*/ 1280493 h 1282248"/>
                <a:gd name="connsiteX40" fmla="*/ 1116129 w 1299209"/>
                <a:gd name="connsiteY40" fmla="*/ 1282249 h 1282248"/>
                <a:gd name="connsiteX41" fmla="*/ 1246086 w 1299209"/>
                <a:gd name="connsiteY41" fmla="*/ 1234832 h 1282248"/>
                <a:gd name="connsiteX42" fmla="*/ 1270672 w 1299209"/>
                <a:gd name="connsiteY42" fmla="*/ 1259418 h 1282248"/>
                <a:gd name="connsiteX43" fmla="*/ 1295258 w 1299209"/>
                <a:gd name="connsiteY43" fmla="*/ 1257662 h 1282248"/>
                <a:gd name="connsiteX44" fmla="*/ 1295258 w 1299209"/>
                <a:gd name="connsiteY44" fmla="*/ 1234832 h 1282248"/>
                <a:gd name="connsiteX45" fmla="*/ 1288234 w 1299209"/>
                <a:gd name="connsiteY45" fmla="*/ 1227807 h 1282248"/>
                <a:gd name="connsiteX46" fmla="*/ 299509 w 1299209"/>
                <a:gd name="connsiteY46" fmla="*/ 1187415 h 1282248"/>
                <a:gd name="connsiteX47" fmla="*/ 290728 w 1299209"/>
                <a:gd name="connsiteY47" fmla="*/ 1208489 h 1282248"/>
                <a:gd name="connsiteX48" fmla="*/ 201163 w 1299209"/>
                <a:gd name="connsiteY48" fmla="*/ 1245369 h 1282248"/>
                <a:gd name="connsiteX49" fmla="*/ 79987 w 1299209"/>
                <a:gd name="connsiteY49" fmla="*/ 1208489 h 1282248"/>
                <a:gd name="connsiteX50" fmla="*/ 229262 w 1299209"/>
                <a:gd name="connsiteY50" fmla="*/ 1060971 h 1282248"/>
                <a:gd name="connsiteX51" fmla="*/ 274922 w 1299209"/>
                <a:gd name="connsiteY51" fmla="*/ 1106631 h 1282248"/>
                <a:gd name="connsiteX52" fmla="*/ 299509 w 1299209"/>
                <a:gd name="connsiteY52" fmla="*/ 1187415 h 1282248"/>
                <a:gd name="connsiteX53" fmla="*/ 299509 w 1299209"/>
                <a:gd name="connsiteY53" fmla="*/ 1187415 h 1282248"/>
                <a:gd name="connsiteX54" fmla="*/ 350438 w 1299209"/>
                <a:gd name="connsiteY54" fmla="*/ 1099607 h 1282248"/>
                <a:gd name="connsiteX55" fmla="*/ 336388 w 1299209"/>
                <a:gd name="connsiteY55" fmla="*/ 1150536 h 1282248"/>
                <a:gd name="connsiteX56" fmla="*/ 336388 w 1299209"/>
                <a:gd name="connsiteY56" fmla="*/ 1150536 h 1282248"/>
                <a:gd name="connsiteX57" fmla="*/ 301265 w 1299209"/>
                <a:gd name="connsiteY57" fmla="*/ 1083801 h 1282248"/>
                <a:gd name="connsiteX58" fmla="*/ 137941 w 1299209"/>
                <a:gd name="connsiteY58" fmla="*/ 920477 h 1282248"/>
                <a:gd name="connsiteX59" fmla="*/ 137941 w 1299209"/>
                <a:gd name="connsiteY59" fmla="*/ 920477 h 1282248"/>
                <a:gd name="connsiteX60" fmla="*/ 137941 w 1299209"/>
                <a:gd name="connsiteY60" fmla="*/ 920477 h 1282248"/>
                <a:gd name="connsiteX61" fmla="*/ 194138 w 1299209"/>
                <a:gd name="connsiteY61" fmla="*/ 913453 h 1282248"/>
                <a:gd name="connsiteX62" fmla="*/ 352194 w 1299209"/>
                <a:gd name="connsiteY62" fmla="*/ 1089070 h 1282248"/>
                <a:gd name="connsiteX63" fmla="*/ 350438 w 1299209"/>
                <a:gd name="connsiteY63" fmla="*/ 1099607 h 1282248"/>
                <a:gd name="connsiteX64" fmla="*/ 350438 w 1299209"/>
                <a:gd name="connsiteY64" fmla="*/ 1099607 h 1282248"/>
                <a:gd name="connsiteX65" fmla="*/ 965098 w 1299209"/>
                <a:gd name="connsiteY65" fmla="*/ 1150536 h 1282248"/>
                <a:gd name="connsiteX66" fmla="*/ 965098 w 1299209"/>
                <a:gd name="connsiteY66" fmla="*/ 1150536 h 1282248"/>
                <a:gd name="connsiteX67" fmla="*/ 949292 w 1299209"/>
                <a:gd name="connsiteY67" fmla="*/ 1099607 h 1282248"/>
                <a:gd name="connsiteX68" fmla="*/ 1096811 w 1299209"/>
                <a:gd name="connsiteY68" fmla="*/ 915209 h 1282248"/>
                <a:gd name="connsiteX69" fmla="*/ 1107348 w 1299209"/>
                <a:gd name="connsiteY69" fmla="*/ 915209 h 1282248"/>
                <a:gd name="connsiteX70" fmla="*/ 1163545 w 1299209"/>
                <a:gd name="connsiteY70" fmla="*/ 922233 h 1282248"/>
                <a:gd name="connsiteX71" fmla="*/ 1163545 w 1299209"/>
                <a:gd name="connsiteY71" fmla="*/ 922233 h 1282248"/>
                <a:gd name="connsiteX72" fmla="*/ 1163545 w 1299209"/>
                <a:gd name="connsiteY72" fmla="*/ 922233 h 1282248"/>
                <a:gd name="connsiteX73" fmla="*/ 1000221 w 1299209"/>
                <a:gd name="connsiteY73" fmla="*/ 1085557 h 1282248"/>
                <a:gd name="connsiteX74" fmla="*/ 965098 w 1299209"/>
                <a:gd name="connsiteY74" fmla="*/ 1150536 h 1282248"/>
                <a:gd name="connsiteX75" fmla="*/ 965098 w 1299209"/>
                <a:gd name="connsiteY75" fmla="*/ 1150536 h 1282248"/>
                <a:gd name="connsiteX76" fmla="*/ 1100323 w 1299209"/>
                <a:gd name="connsiteY76" fmla="*/ 1247125 h 1282248"/>
                <a:gd name="connsiteX77" fmla="*/ 1010758 w 1299209"/>
                <a:gd name="connsiteY77" fmla="*/ 1210246 h 1282248"/>
                <a:gd name="connsiteX78" fmla="*/ 1001978 w 1299209"/>
                <a:gd name="connsiteY78" fmla="*/ 1189171 h 1282248"/>
                <a:gd name="connsiteX79" fmla="*/ 1024808 w 1299209"/>
                <a:gd name="connsiteY79" fmla="*/ 1110144 h 1282248"/>
                <a:gd name="connsiteX80" fmla="*/ 1070468 w 1299209"/>
                <a:gd name="connsiteY80" fmla="*/ 1064483 h 1282248"/>
                <a:gd name="connsiteX81" fmla="*/ 1219743 w 1299209"/>
                <a:gd name="connsiteY81" fmla="*/ 1212002 h 1282248"/>
                <a:gd name="connsiteX82" fmla="*/ 1100323 w 1299209"/>
                <a:gd name="connsiteY82" fmla="*/ 1247125 h 1282248"/>
                <a:gd name="connsiteX83" fmla="*/ 1100323 w 1299209"/>
                <a:gd name="connsiteY83" fmla="*/ 1247125 h 128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99209" h="1282248">
                  <a:moveTo>
                    <a:pt x="1288234" y="1227807"/>
                  </a:moveTo>
                  <a:lnTo>
                    <a:pt x="1095055" y="1038141"/>
                  </a:lnTo>
                  <a:lnTo>
                    <a:pt x="1207450" y="925746"/>
                  </a:lnTo>
                  <a:cubicBezTo>
                    <a:pt x="1214474" y="918721"/>
                    <a:pt x="1214474" y="908184"/>
                    <a:pt x="1207450" y="901159"/>
                  </a:cubicBezTo>
                  <a:cubicBezTo>
                    <a:pt x="1205694" y="899403"/>
                    <a:pt x="1203937" y="899403"/>
                    <a:pt x="1202181" y="897647"/>
                  </a:cubicBezTo>
                  <a:cubicBezTo>
                    <a:pt x="1175839" y="885354"/>
                    <a:pt x="1145984" y="878329"/>
                    <a:pt x="1116129" y="878329"/>
                  </a:cubicBezTo>
                  <a:cubicBezTo>
                    <a:pt x="1066956" y="878329"/>
                    <a:pt x="1021295" y="895891"/>
                    <a:pt x="984416" y="927502"/>
                  </a:cubicBezTo>
                  <a:lnTo>
                    <a:pt x="675330" y="623684"/>
                  </a:lnTo>
                  <a:lnTo>
                    <a:pt x="1277697" y="30098"/>
                  </a:lnTo>
                  <a:cubicBezTo>
                    <a:pt x="1284721" y="23073"/>
                    <a:pt x="1282965" y="12536"/>
                    <a:pt x="1275940" y="5512"/>
                  </a:cubicBezTo>
                  <a:cubicBezTo>
                    <a:pt x="1268916" y="243"/>
                    <a:pt x="1258379" y="243"/>
                    <a:pt x="1253110" y="5512"/>
                  </a:cubicBezTo>
                  <a:lnTo>
                    <a:pt x="650743" y="599098"/>
                  </a:lnTo>
                  <a:lnTo>
                    <a:pt x="48376" y="5512"/>
                  </a:lnTo>
                  <a:cubicBezTo>
                    <a:pt x="41352" y="-1513"/>
                    <a:pt x="30814" y="-1513"/>
                    <a:pt x="23790" y="3755"/>
                  </a:cubicBezTo>
                  <a:cubicBezTo>
                    <a:pt x="16765" y="10780"/>
                    <a:pt x="16765" y="21317"/>
                    <a:pt x="22034" y="28342"/>
                  </a:cubicBezTo>
                  <a:cubicBezTo>
                    <a:pt x="22034" y="28342"/>
                    <a:pt x="23790" y="30098"/>
                    <a:pt x="23790" y="30098"/>
                  </a:cubicBezTo>
                  <a:lnTo>
                    <a:pt x="626157" y="623684"/>
                  </a:lnTo>
                  <a:lnTo>
                    <a:pt x="317071" y="927502"/>
                  </a:lnTo>
                  <a:cubicBezTo>
                    <a:pt x="280191" y="895891"/>
                    <a:pt x="234530" y="878329"/>
                    <a:pt x="185358" y="878329"/>
                  </a:cubicBezTo>
                  <a:cubicBezTo>
                    <a:pt x="155503" y="878329"/>
                    <a:pt x="125648" y="885354"/>
                    <a:pt x="99305" y="897647"/>
                  </a:cubicBezTo>
                  <a:cubicBezTo>
                    <a:pt x="90524" y="901159"/>
                    <a:pt x="87012" y="911696"/>
                    <a:pt x="90524" y="920477"/>
                  </a:cubicBezTo>
                  <a:cubicBezTo>
                    <a:pt x="90524" y="922233"/>
                    <a:pt x="92281" y="923990"/>
                    <a:pt x="94037" y="925746"/>
                  </a:cubicBezTo>
                  <a:lnTo>
                    <a:pt x="206432" y="1038141"/>
                  </a:lnTo>
                  <a:lnTo>
                    <a:pt x="6228" y="1234832"/>
                  </a:lnTo>
                  <a:cubicBezTo>
                    <a:pt x="-797" y="1241857"/>
                    <a:pt x="-2553" y="1252394"/>
                    <a:pt x="4472" y="1259418"/>
                  </a:cubicBezTo>
                  <a:cubicBezTo>
                    <a:pt x="11497" y="1266443"/>
                    <a:pt x="22034" y="1268199"/>
                    <a:pt x="29058" y="1261175"/>
                  </a:cubicBezTo>
                  <a:cubicBezTo>
                    <a:pt x="29058" y="1261175"/>
                    <a:pt x="30814" y="1259418"/>
                    <a:pt x="30814" y="1259418"/>
                  </a:cubicBezTo>
                  <a:lnTo>
                    <a:pt x="55401" y="1234832"/>
                  </a:lnTo>
                  <a:cubicBezTo>
                    <a:pt x="92281" y="1264687"/>
                    <a:pt x="137941" y="1282249"/>
                    <a:pt x="185358" y="1282249"/>
                  </a:cubicBezTo>
                  <a:cubicBezTo>
                    <a:pt x="192382" y="1282249"/>
                    <a:pt x="197651" y="1282249"/>
                    <a:pt x="204676" y="1280493"/>
                  </a:cubicBezTo>
                  <a:cubicBezTo>
                    <a:pt x="241555" y="1276980"/>
                    <a:pt x="274922" y="1264687"/>
                    <a:pt x="304777" y="1241857"/>
                  </a:cubicBezTo>
                  <a:cubicBezTo>
                    <a:pt x="306533" y="1240101"/>
                    <a:pt x="310046" y="1238344"/>
                    <a:pt x="311802" y="1236588"/>
                  </a:cubicBezTo>
                  <a:cubicBezTo>
                    <a:pt x="399611" y="1166341"/>
                    <a:pt x="413660" y="1039897"/>
                    <a:pt x="343413" y="953845"/>
                  </a:cubicBezTo>
                  <a:cubicBezTo>
                    <a:pt x="343413" y="953845"/>
                    <a:pt x="341657" y="952088"/>
                    <a:pt x="341657" y="952088"/>
                  </a:cubicBezTo>
                  <a:lnTo>
                    <a:pt x="650743" y="648271"/>
                  </a:lnTo>
                  <a:lnTo>
                    <a:pt x="959829" y="952088"/>
                  </a:lnTo>
                  <a:cubicBezTo>
                    <a:pt x="889583" y="1038141"/>
                    <a:pt x="901876" y="1164585"/>
                    <a:pt x="987928" y="1234832"/>
                  </a:cubicBezTo>
                  <a:cubicBezTo>
                    <a:pt x="987928" y="1234832"/>
                    <a:pt x="989684" y="1236588"/>
                    <a:pt x="989684" y="1236588"/>
                  </a:cubicBezTo>
                  <a:cubicBezTo>
                    <a:pt x="991441" y="1238344"/>
                    <a:pt x="993197" y="1240101"/>
                    <a:pt x="996709" y="1241857"/>
                  </a:cubicBezTo>
                  <a:cubicBezTo>
                    <a:pt x="1026564" y="1262931"/>
                    <a:pt x="1059931" y="1276980"/>
                    <a:pt x="1096811" y="1280493"/>
                  </a:cubicBezTo>
                  <a:cubicBezTo>
                    <a:pt x="1103836" y="1280493"/>
                    <a:pt x="1109104" y="1282249"/>
                    <a:pt x="1116129" y="1282249"/>
                  </a:cubicBezTo>
                  <a:cubicBezTo>
                    <a:pt x="1163545" y="1282249"/>
                    <a:pt x="1209206" y="1264687"/>
                    <a:pt x="1246086" y="1234832"/>
                  </a:cubicBezTo>
                  <a:lnTo>
                    <a:pt x="1270672" y="1259418"/>
                  </a:lnTo>
                  <a:cubicBezTo>
                    <a:pt x="1277697" y="1266443"/>
                    <a:pt x="1288234" y="1264687"/>
                    <a:pt x="1295258" y="1257662"/>
                  </a:cubicBezTo>
                  <a:cubicBezTo>
                    <a:pt x="1300527" y="1250638"/>
                    <a:pt x="1300527" y="1240101"/>
                    <a:pt x="1295258" y="1234832"/>
                  </a:cubicBezTo>
                  <a:lnTo>
                    <a:pt x="1288234" y="1227807"/>
                  </a:lnTo>
                  <a:close/>
                  <a:moveTo>
                    <a:pt x="299509" y="1187415"/>
                  </a:moveTo>
                  <a:cubicBezTo>
                    <a:pt x="297753" y="1194440"/>
                    <a:pt x="294240" y="1203221"/>
                    <a:pt x="290728" y="1208489"/>
                  </a:cubicBezTo>
                  <a:cubicBezTo>
                    <a:pt x="266142" y="1229564"/>
                    <a:pt x="234530" y="1241857"/>
                    <a:pt x="201163" y="1245369"/>
                  </a:cubicBezTo>
                  <a:cubicBezTo>
                    <a:pt x="157259" y="1248881"/>
                    <a:pt x="115111" y="1236588"/>
                    <a:pt x="79987" y="1208489"/>
                  </a:cubicBezTo>
                  <a:lnTo>
                    <a:pt x="229262" y="1060971"/>
                  </a:lnTo>
                  <a:lnTo>
                    <a:pt x="274922" y="1106631"/>
                  </a:lnTo>
                  <a:cubicBezTo>
                    <a:pt x="297753" y="1129462"/>
                    <a:pt x="306533" y="1159317"/>
                    <a:pt x="299509" y="1187415"/>
                  </a:cubicBezTo>
                  <a:lnTo>
                    <a:pt x="299509" y="1187415"/>
                  </a:lnTo>
                  <a:close/>
                  <a:moveTo>
                    <a:pt x="350438" y="1099607"/>
                  </a:moveTo>
                  <a:cubicBezTo>
                    <a:pt x="348682" y="1117168"/>
                    <a:pt x="343413" y="1134730"/>
                    <a:pt x="336388" y="1150536"/>
                  </a:cubicBezTo>
                  <a:cubicBezTo>
                    <a:pt x="336388" y="1150536"/>
                    <a:pt x="336388" y="1150536"/>
                    <a:pt x="336388" y="1150536"/>
                  </a:cubicBezTo>
                  <a:cubicBezTo>
                    <a:pt x="332876" y="1125949"/>
                    <a:pt x="320583" y="1101363"/>
                    <a:pt x="301265" y="1083801"/>
                  </a:cubicBezTo>
                  <a:lnTo>
                    <a:pt x="137941" y="920477"/>
                  </a:lnTo>
                  <a:cubicBezTo>
                    <a:pt x="137941" y="920477"/>
                    <a:pt x="137941" y="920477"/>
                    <a:pt x="137941" y="920477"/>
                  </a:cubicBezTo>
                  <a:cubicBezTo>
                    <a:pt x="137941" y="920477"/>
                    <a:pt x="137941" y="920477"/>
                    <a:pt x="137941" y="920477"/>
                  </a:cubicBezTo>
                  <a:cubicBezTo>
                    <a:pt x="155503" y="915209"/>
                    <a:pt x="174821" y="913453"/>
                    <a:pt x="194138" y="913453"/>
                  </a:cubicBezTo>
                  <a:cubicBezTo>
                    <a:pt x="285459" y="918721"/>
                    <a:pt x="357462" y="995993"/>
                    <a:pt x="352194" y="1089070"/>
                  </a:cubicBezTo>
                  <a:cubicBezTo>
                    <a:pt x="352194" y="1092582"/>
                    <a:pt x="352194" y="1096094"/>
                    <a:pt x="350438" y="1099607"/>
                  </a:cubicBezTo>
                  <a:lnTo>
                    <a:pt x="350438" y="1099607"/>
                  </a:lnTo>
                  <a:close/>
                  <a:moveTo>
                    <a:pt x="965098" y="1150536"/>
                  </a:moveTo>
                  <a:cubicBezTo>
                    <a:pt x="965098" y="1150536"/>
                    <a:pt x="965098" y="1150536"/>
                    <a:pt x="965098" y="1150536"/>
                  </a:cubicBezTo>
                  <a:cubicBezTo>
                    <a:pt x="956317" y="1134730"/>
                    <a:pt x="952805" y="1117168"/>
                    <a:pt x="949292" y="1099607"/>
                  </a:cubicBezTo>
                  <a:cubicBezTo>
                    <a:pt x="938755" y="1008286"/>
                    <a:pt x="1003734" y="925746"/>
                    <a:pt x="1096811" y="915209"/>
                  </a:cubicBezTo>
                  <a:cubicBezTo>
                    <a:pt x="1100323" y="915209"/>
                    <a:pt x="1103836" y="915209"/>
                    <a:pt x="1107348" y="915209"/>
                  </a:cubicBezTo>
                  <a:cubicBezTo>
                    <a:pt x="1126666" y="913453"/>
                    <a:pt x="1144227" y="916965"/>
                    <a:pt x="1163545" y="922233"/>
                  </a:cubicBezTo>
                  <a:cubicBezTo>
                    <a:pt x="1163545" y="922233"/>
                    <a:pt x="1163545" y="922233"/>
                    <a:pt x="1163545" y="922233"/>
                  </a:cubicBezTo>
                  <a:cubicBezTo>
                    <a:pt x="1163545" y="922233"/>
                    <a:pt x="1163545" y="922233"/>
                    <a:pt x="1163545" y="922233"/>
                  </a:cubicBezTo>
                  <a:lnTo>
                    <a:pt x="1000221" y="1085557"/>
                  </a:lnTo>
                  <a:cubicBezTo>
                    <a:pt x="980904" y="1101363"/>
                    <a:pt x="970366" y="1125949"/>
                    <a:pt x="965098" y="1150536"/>
                  </a:cubicBezTo>
                  <a:lnTo>
                    <a:pt x="965098" y="1150536"/>
                  </a:lnTo>
                  <a:close/>
                  <a:moveTo>
                    <a:pt x="1100323" y="1247125"/>
                  </a:moveTo>
                  <a:cubicBezTo>
                    <a:pt x="1066956" y="1243613"/>
                    <a:pt x="1037101" y="1231320"/>
                    <a:pt x="1010758" y="1210246"/>
                  </a:cubicBezTo>
                  <a:cubicBezTo>
                    <a:pt x="1005490" y="1203221"/>
                    <a:pt x="1003734" y="1196196"/>
                    <a:pt x="1001978" y="1189171"/>
                  </a:cubicBezTo>
                  <a:cubicBezTo>
                    <a:pt x="994953" y="1161073"/>
                    <a:pt x="1005490" y="1131218"/>
                    <a:pt x="1024808" y="1110144"/>
                  </a:cubicBezTo>
                  <a:lnTo>
                    <a:pt x="1070468" y="1064483"/>
                  </a:lnTo>
                  <a:lnTo>
                    <a:pt x="1219743" y="1212002"/>
                  </a:lnTo>
                  <a:cubicBezTo>
                    <a:pt x="1186376" y="1238344"/>
                    <a:pt x="1142471" y="1250638"/>
                    <a:pt x="1100323" y="1247125"/>
                  </a:cubicBezTo>
                  <a:lnTo>
                    <a:pt x="1100323" y="1247125"/>
                  </a:lnTo>
                  <a:close/>
                </a:path>
              </a:pathLst>
            </a:custGeom>
            <a:solidFill>
              <a:schemeClr val="accent4">
                <a:lumMod val="75000"/>
              </a:schemeClr>
            </a:solidFill>
            <a:ln w="17562" cap="flat">
              <a:noFill/>
              <a:prstDash val="solid"/>
              <a:miter/>
            </a:ln>
          </p:spPr>
          <p:txBody>
            <a:bodyPr rtlCol="0" anchor="ctr"/>
            <a:lstStyle/>
            <a:p>
              <a:endParaRPr lang="en-US"/>
            </a:p>
          </p:txBody>
        </p:sp>
      </p:grpSp>
      <p:sp>
        <p:nvSpPr>
          <p:cNvPr id="7" name="TextBox 6">
            <a:extLst>
              <a:ext uri="{FF2B5EF4-FFF2-40B4-BE49-F238E27FC236}">
                <a16:creationId xmlns:a16="http://schemas.microsoft.com/office/drawing/2014/main" id="{33AFADB3-5A06-E7FB-37A2-BB5453E78BA3}"/>
              </a:ext>
            </a:extLst>
          </p:cNvPr>
          <p:cNvSpPr txBox="1"/>
          <p:nvPr/>
        </p:nvSpPr>
        <p:spPr>
          <a:xfrm>
            <a:off x="3629726" y="2433233"/>
            <a:ext cx="4200041" cy="2308324"/>
          </a:xfrm>
          <a:prstGeom prst="rect">
            <a:avLst/>
          </a:prstGeom>
          <a:noFill/>
        </p:spPr>
        <p:txBody>
          <a:bodyPr wrap="square" rtlCol="0">
            <a:spAutoFit/>
          </a:bodyPr>
          <a:lstStyle/>
          <a:p>
            <a:r>
              <a:rPr lang="en-GB" sz="2400" dirty="0">
                <a:latin typeface="Courier New" panose="02070309020205020404" pitchFamily="49" charset="0"/>
                <a:cs typeface="Courier New" panose="02070309020205020404" pitchFamily="49" charset="0"/>
              </a:rPr>
              <a:t>library(</a:t>
            </a:r>
            <a:r>
              <a:rPr lang="en-GB" sz="2400" dirty="0" err="1">
                <a:latin typeface="Courier New" panose="02070309020205020404" pitchFamily="49" charset="0"/>
                <a:cs typeface="Courier New" panose="02070309020205020404" pitchFamily="49" charset="0"/>
              </a:rPr>
              <a:t>dplyr</a:t>
            </a:r>
            <a:r>
              <a:rPr lang="en-GB" sz="2400" dirty="0">
                <a:latin typeface="Courier New" panose="02070309020205020404" pitchFamily="49" charset="0"/>
                <a:cs typeface="Courier New" panose="02070309020205020404" pitchFamily="49" charset="0"/>
              </a:rPr>
              <a:t>)</a:t>
            </a:r>
          </a:p>
          <a:p>
            <a:r>
              <a:rPr lang="en-GB" sz="2400" dirty="0">
                <a:latin typeface="Courier New" panose="02070309020205020404" pitchFamily="49" charset="0"/>
                <a:cs typeface="Courier New" panose="02070309020205020404" pitchFamily="49" charset="0"/>
              </a:rPr>
              <a:t>&lt;&lt;&lt;&lt;&lt;&lt;&lt; HEAD </a:t>
            </a:r>
          </a:p>
          <a:p>
            <a:r>
              <a:rPr lang="en-GB" sz="2400" dirty="0">
                <a:latin typeface="Courier New" panose="02070309020205020404" pitchFamily="49" charset="0"/>
                <a:cs typeface="Courier New" panose="02070309020205020404" pitchFamily="49" charset="0"/>
              </a:rPr>
              <a:t>library(lme4)</a:t>
            </a:r>
          </a:p>
          <a:p>
            <a:r>
              <a:rPr lang="en-GB" sz="2400" dirty="0">
                <a:latin typeface="Courier New" panose="02070309020205020404" pitchFamily="49" charset="0"/>
                <a:cs typeface="Courier New" panose="02070309020205020404" pitchFamily="49" charset="0"/>
              </a:rPr>
              <a:t>======= </a:t>
            </a:r>
          </a:p>
          <a:p>
            <a:r>
              <a:rPr lang="en-GB" sz="2400" dirty="0">
                <a:latin typeface="Courier New" panose="02070309020205020404" pitchFamily="49" charset="0"/>
                <a:cs typeface="Courier New" panose="02070309020205020404" pitchFamily="49" charset="0"/>
              </a:rPr>
              <a:t>library(MMRM)</a:t>
            </a:r>
          </a:p>
          <a:p>
            <a:r>
              <a:rPr lang="en-GB" sz="2400" dirty="0">
                <a:latin typeface="Courier New" panose="02070309020205020404" pitchFamily="49" charset="0"/>
                <a:cs typeface="Courier New" panose="02070309020205020404" pitchFamily="49" charset="0"/>
              </a:rPr>
              <a:t>&gt;&gt;&gt;&gt;&gt;&gt;&gt; Branch1</a:t>
            </a:r>
            <a:endParaRPr lang="en-US" sz="24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990891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7">
                                            <p:txEl>
                                              <p:pRg st="3" end="3"/>
                                            </p:txEl>
                                          </p:spTgt>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7">
                                            <p:txEl>
                                              <p:pRg st="5" end="5"/>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7">
                                            <p:txEl>
                                              <p:pRg st="1" end="1"/>
                                            </p:txEl>
                                          </p:spTgt>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7">
                                            <p:txEl>
                                              <p:pRg st="2" end="2"/>
                                            </p:txEl>
                                          </p:spTgt>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7">
                                            <p:txEl>
                                              <p:pRg st="3" end="3"/>
                                            </p:txEl>
                                          </p:spTgt>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7">
                                            <p:txEl>
                                              <p:pRg st="5" end="5"/>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93567-EEEF-18BB-22F1-6C0F84BA247F}"/>
              </a:ext>
            </a:extLst>
          </p:cNvPr>
          <p:cNvSpPr>
            <a:spLocks noGrp="1"/>
          </p:cNvSpPr>
          <p:nvPr>
            <p:ph type="title"/>
          </p:nvPr>
        </p:nvSpPr>
        <p:spPr/>
        <p:txBody>
          <a:bodyPr/>
          <a:lstStyle/>
          <a:p>
            <a:r>
              <a:rPr lang="en-US" dirty="0"/>
              <a:t>Exercise 3: Merging </a:t>
            </a:r>
          </a:p>
        </p:txBody>
      </p:sp>
      <p:sp>
        <p:nvSpPr>
          <p:cNvPr id="3" name="Content Placeholder 2">
            <a:extLst>
              <a:ext uri="{FF2B5EF4-FFF2-40B4-BE49-F238E27FC236}">
                <a16:creationId xmlns:a16="http://schemas.microsoft.com/office/drawing/2014/main" id="{EDC0499F-2EE5-B048-FA07-B4422148459A}"/>
              </a:ext>
            </a:extLst>
          </p:cNvPr>
          <p:cNvSpPr>
            <a:spLocks noGrp="1"/>
          </p:cNvSpPr>
          <p:nvPr>
            <p:ph idx="1"/>
          </p:nvPr>
        </p:nvSpPr>
        <p:spPr/>
        <p:txBody>
          <a:bodyPr>
            <a:normAutofit/>
          </a:bodyPr>
          <a:lstStyle/>
          <a:p>
            <a:r>
              <a:rPr lang="en-US" sz="2400" dirty="0"/>
              <a:t>Go to the App and work through Q1 and Q2 in the merging section </a:t>
            </a:r>
          </a:p>
          <a:p>
            <a:r>
              <a:rPr lang="en-US" sz="2400" dirty="0"/>
              <a:t>We will be available for help if you need it, just ask your questions in the chat box </a:t>
            </a:r>
          </a:p>
          <a:p>
            <a:r>
              <a:rPr lang="en-US" sz="2400" dirty="0"/>
              <a:t>We will resume after 15 min</a:t>
            </a:r>
          </a:p>
        </p:txBody>
      </p:sp>
    </p:spTree>
    <p:extLst>
      <p:ext uri="{BB962C8B-B14F-4D97-AF65-F5344CB8AC3E}">
        <p14:creationId xmlns:p14="http://schemas.microsoft.com/office/powerpoint/2010/main" val="1019387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4C2ED-B27D-ECEC-ABAA-F88F81F16502}"/>
              </a:ext>
            </a:extLst>
          </p:cNvPr>
          <p:cNvSpPr>
            <a:spLocks noGrp="1"/>
          </p:cNvSpPr>
          <p:nvPr>
            <p:ph type="title"/>
          </p:nvPr>
        </p:nvSpPr>
        <p:spPr/>
        <p:txBody>
          <a:bodyPr/>
          <a:lstStyle/>
          <a:p>
            <a:r>
              <a:rPr lang="en-US" dirty="0"/>
              <a:t>Introductions</a:t>
            </a:r>
          </a:p>
        </p:txBody>
      </p:sp>
      <p:sp>
        <p:nvSpPr>
          <p:cNvPr id="3" name="Content Placeholder 2">
            <a:extLst>
              <a:ext uri="{FF2B5EF4-FFF2-40B4-BE49-F238E27FC236}">
                <a16:creationId xmlns:a16="http://schemas.microsoft.com/office/drawing/2014/main" id="{9F1D50D1-A46E-18AC-D801-A9ED97677047}"/>
              </a:ext>
            </a:extLst>
          </p:cNvPr>
          <p:cNvSpPr>
            <a:spLocks noGrp="1"/>
          </p:cNvSpPr>
          <p:nvPr>
            <p:ph idx="1"/>
          </p:nvPr>
        </p:nvSpPr>
        <p:spPr>
          <a:xfrm>
            <a:off x="677333" y="2160589"/>
            <a:ext cx="2845795" cy="1550799"/>
          </a:xfrm>
        </p:spPr>
        <p:txBody>
          <a:bodyPr>
            <a:normAutofit/>
          </a:bodyPr>
          <a:lstStyle/>
          <a:p>
            <a:r>
              <a:rPr lang="en-US" sz="2400" dirty="0"/>
              <a:t>Who are we? </a:t>
            </a:r>
          </a:p>
          <a:p>
            <a:r>
              <a:rPr lang="en-US" sz="2400" dirty="0"/>
              <a:t>What do we do? </a:t>
            </a:r>
          </a:p>
        </p:txBody>
      </p:sp>
      <p:grpSp>
        <p:nvGrpSpPr>
          <p:cNvPr id="8" name="Group 7">
            <a:extLst>
              <a:ext uri="{FF2B5EF4-FFF2-40B4-BE49-F238E27FC236}">
                <a16:creationId xmlns:a16="http://schemas.microsoft.com/office/drawing/2014/main" id="{894F33D3-C87D-9627-0F03-D4A44DF5638A}"/>
              </a:ext>
            </a:extLst>
          </p:cNvPr>
          <p:cNvGrpSpPr/>
          <p:nvPr/>
        </p:nvGrpSpPr>
        <p:grpSpPr>
          <a:xfrm>
            <a:off x="1174653" y="3455894"/>
            <a:ext cx="2214006" cy="2894188"/>
            <a:chOff x="1174653" y="3455894"/>
            <a:chExt cx="2214006" cy="2894188"/>
          </a:xfrm>
        </p:grpSpPr>
        <p:pic>
          <p:nvPicPr>
            <p:cNvPr id="4" name="Picture Placeholder 23">
              <a:extLst>
                <a:ext uri="{FF2B5EF4-FFF2-40B4-BE49-F238E27FC236}">
                  <a16:creationId xmlns:a16="http://schemas.microsoft.com/office/drawing/2014/main" id="{5B7E8648-A250-7FD5-D8F8-EA20F376CF04}"/>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l="9188" r="9188"/>
            <a:stretch/>
          </p:blipFill>
          <p:spPr>
            <a:xfrm>
              <a:off x="1283912" y="3905332"/>
              <a:ext cx="1995488" cy="2444750"/>
            </a:xfrm>
            <a:prstGeom prst="roundRect">
              <a:avLst>
                <a:gd name="adj" fmla="val 4167"/>
              </a:avLst>
            </a:prstGeom>
            <a:solidFill>
              <a:srgbClr val="FFFFFF"/>
            </a:solidFill>
            <a:ln w="76200" cap="sq">
              <a:noFill/>
              <a:miter lim="800000"/>
            </a:ln>
            <a:effectLst/>
          </p:spPr>
        </p:pic>
        <p:sp>
          <p:nvSpPr>
            <p:cNvPr id="5" name="Text Placeholder 19">
              <a:extLst>
                <a:ext uri="{FF2B5EF4-FFF2-40B4-BE49-F238E27FC236}">
                  <a16:creationId xmlns:a16="http://schemas.microsoft.com/office/drawing/2014/main" id="{7E75EAEC-D5FB-8910-0621-73D281109C6F}"/>
                </a:ext>
              </a:extLst>
            </p:cNvPr>
            <p:cNvSpPr txBox="1">
              <a:spLocks/>
            </p:cNvSpPr>
            <p:nvPr/>
          </p:nvSpPr>
          <p:spPr>
            <a:xfrm>
              <a:off x="1174653" y="3455894"/>
              <a:ext cx="2214006" cy="420713"/>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gn="ctr">
                <a:buFont typeface="Wingdings 3" charset="2"/>
                <a:buNone/>
              </a:pPr>
              <a:r>
                <a:rPr lang="en-GB" sz="2000" b="1" dirty="0"/>
                <a:t>Alexandra Lauer</a:t>
              </a:r>
            </a:p>
          </p:txBody>
        </p:sp>
      </p:grpSp>
      <p:grpSp>
        <p:nvGrpSpPr>
          <p:cNvPr id="28" name="Group 27">
            <a:extLst>
              <a:ext uri="{FF2B5EF4-FFF2-40B4-BE49-F238E27FC236}">
                <a16:creationId xmlns:a16="http://schemas.microsoft.com/office/drawing/2014/main" id="{06F78C93-AF59-862E-FD3C-77454C31F2E5}"/>
              </a:ext>
            </a:extLst>
          </p:cNvPr>
          <p:cNvGrpSpPr/>
          <p:nvPr/>
        </p:nvGrpSpPr>
        <p:grpSpPr>
          <a:xfrm>
            <a:off x="3593591" y="3455894"/>
            <a:ext cx="2452864" cy="2894188"/>
            <a:chOff x="3388659" y="3455894"/>
            <a:chExt cx="2452864" cy="2894188"/>
          </a:xfrm>
        </p:grpSpPr>
        <p:pic>
          <p:nvPicPr>
            <p:cNvPr id="14" name="Picture Placeholder 23" descr="A person smiling for the camera&#10;&#10;Description automatically generated with medium confidence">
              <a:extLst>
                <a:ext uri="{FF2B5EF4-FFF2-40B4-BE49-F238E27FC236}">
                  <a16:creationId xmlns:a16="http://schemas.microsoft.com/office/drawing/2014/main" id="{DBE55DEA-0F0E-5272-10F8-1806E27455F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3503" t="71" r="7329" b="-71"/>
            <a:stretch/>
          </p:blipFill>
          <p:spPr>
            <a:xfrm>
              <a:off x="3617347" y="3905332"/>
              <a:ext cx="1995488" cy="2444750"/>
            </a:xfrm>
            <a:prstGeom prst="roundRect">
              <a:avLst>
                <a:gd name="adj" fmla="val 4167"/>
              </a:avLst>
            </a:prstGeom>
            <a:solidFill>
              <a:srgbClr val="FFFFFF"/>
            </a:solidFill>
            <a:ln w="76200" cap="sq">
              <a:noFill/>
              <a:miter lim="800000"/>
            </a:ln>
            <a:effectLst/>
          </p:spPr>
        </p:pic>
        <p:sp>
          <p:nvSpPr>
            <p:cNvPr id="15" name="Text Placeholder 19">
              <a:extLst>
                <a:ext uri="{FF2B5EF4-FFF2-40B4-BE49-F238E27FC236}">
                  <a16:creationId xmlns:a16="http://schemas.microsoft.com/office/drawing/2014/main" id="{E21A7BC6-A207-B4E0-8776-AA1D174CEE9D}"/>
                </a:ext>
              </a:extLst>
            </p:cNvPr>
            <p:cNvSpPr txBox="1">
              <a:spLocks/>
            </p:cNvSpPr>
            <p:nvPr/>
          </p:nvSpPr>
          <p:spPr>
            <a:xfrm>
              <a:off x="3388659" y="3455894"/>
              <a:ext cx="2452864" cy="420713"/>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gn="ctr">
                <a:buFont typeface="Wingdings 3" charset="2"/>
                <a:buNone/>
              </a:pPr>
              <a:r>
                <a:rPr lang="en-GB" sz="2000" b="1" dirty="0"/>
                <a:t>Christina Fillmore</a:t>
              </a:r>
            </a:p>
          </p:txBody>
        </p:sp>
      </p:grpSp>
      <p:grpSp>
        <p:nvGrpSpPr>
          <p:cNvPr id="27" name="Group 26">
            <a:extLst>
              <a:ext uri="{FF2B5EF4-FFF2-40B4-BE49-F238E27FC236}">
                <a16:creationId xmlns:a16="http://schemas.microsoft.com/office/drawing/2014/main" id="{7ECF5502-0582-6A06-83F3-2E77863286B3}"/>
              </a:ext>
            </a:extLst>
          </p:cNvPr>
          <p:cNvGrpSpPr/>
          <p:nvPr/>
        </p:nvGrpSpPr>
        <p:grpSpPr>
          <a:xfrm>
            <a:off x="6251387" y="3455894"/>
            <a:ext cx="2096541" cy="2894188"/>
            <a:chOff x="6093457" y="3455894"/>
            <a:chExt cx="2096541" cy="2894188"/>
          </a:xfrm>
        </p:grpSpPr>
        <p:pic>
          <p:nvPicPr>
            <p:cNvPr id="17" name="Picture Placeholder 23">
              <a:extLst>
                <a:ext uri="{FF2B5EF4-FFF2-40B4-BE49-F238E27FC236}">
                  <a16:creationId xmlns:a16="http://schemas.microsoft.com/office/drawing/2014/main" id="{2925D2BD-917E-A31A-8047-F094C0D518CA}"/>
                </a:ext>
              </a:extLst>
            </p:cNvPr>
            <p:cNvPicPr>
              <a:picLocks noChangeAspect="1"/>
            </p:cNvPicPr>
            <p:nvPr/>
          </p:nvPicPr>
          <p:blipFill>
            <a:blip r:embed="rId4">
              <a:extLst>
                <a:ext uri="{28A0092B-C50C-407E-A947-70E740481C1C}">
                  <a14:useLocalDpi xmlns:a14="http://schemas.microsoft.com/office/drawing/2010/main" val="0"/>
                </a:ext>
              </a:extLst>
            </a:blip>
            <a:srcRect l="8494" r="8494"/>
            <a:stretch/>
          </p:blipFill>
          <p:spPr>
            <a:xfrm>
              <a:off x="6143984" y="3905332"/>
              <a:ext cx="1995488" cy="2444750"/>
            </a:xfrm>
            <a:prstGeom prst="roundRect">
              <a:avLst>
                <a:gd name="adj" fmla="val 4167"/>
              </a:avLst>
            </a:prstGeom>
            <a:solidFill>
              <a:srgbClr val="FFFFFF"/>
            </a:solidFill>
            <a:ln w="76200" cap="sq">
              <a:noFill/>
              <a:miter lim="800000"/>
            </a:ln>
            <a:effectLst/>
          </p:spPr>
        </p:pic>
        <p:sp>
          <p:nvSpPr>
            <p:cNvPr id="18" name="Text Placeholder 19">
              <a:extLst>
                <a:ext uri="{FF2B5EF4-FFF2-40B4-BE49-F238E27FC236}">
                  <a16:creationId xmlns:a16="http://schemas.microsoft.com/office/drawing/2014/main" id="{A9A5F7CD-446C-F07D-7AB8-CC8E4D6D9E5D}"/>
                </a:ext>
              </a:extLst>
            </p:cNvPr>
            <p:cNvSpPr txBox="1">
              <a:spLocks/>
            </p:cNvSpPr>
            <p:nvPr/>
          </p:nvSpPr>
          <p:spPr>
            <a:xfrm>
              <a:off x="6093457" y="3455894"/>
              <a:ext cx="2096541" cy="42071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gn="ctr">
                <a:buFont typeface="Wingdings 3" charset="2"/>
                <a:buNone/>
              </a:pPr>
              <a:r>
                <a:rPr lang="en-GB" sz="2000" b="1" dirty="0"/>
                <a:t>Lyn Taylor</a:t>
              </a:r>
            </a:p>
          </p:txBody>
        </p:sp>
      </p:grpSp>
      <p:grpSp>
        <p:nvGrpSpPr>
          <p:cNvPr id="26" name="Group 25">
            <a:extLst>
              <a:ext uri="{FF2B5EF4-FFF2-40B4-BE49-F238E27FC236}">
                <a16:creationId xmlns:a16="http://schemas.microsoft.com/office/drawing/2014/main" id="{5F20F0EA-7E08-EA27-4B52-90D83761A0BB}"/>
              </a:ext>
            </a:extLst>
          </p:cNvPr>
          <p:cNvGrpSpPr/>
          <p:nvPr/>
        </p:nvGrpSpPr>
        <p:grpSpPr>
          <a:xfrm>
            <a:off x="8552860" y="3455894"/>
            <a:ext cx="2096541" cy="2894188"/>
            <a:chOff x="8552860" y="3455894"/>
            <a:chExt cx="2096541" cy="2894188"/>
          </a:xfrm>
        </p:grpSpPr>
        <p:pic>
          <p:nvPicPr>
            <p:cNvPr id="20" name="Picture Placeholder 23">
              <a:extLst>
                <a:ext uri="{FF2B5EF4-FFF2-40B4-BE49-F238E27FC236}">
                  <a16:creationId xmlns:a16="http://schemas.microsoft.com/office/drawing/2014/main" id="{3ED27677-C891-AC33-EA53-2A4CD7EFD98E}"/>
                </a:ext>
              </a:extLst>
            </p:cNvPr>
            <p:cNvPicPr>
              <a:picLocks noChangeAspect="1"/>
            </p:cNvPicPr>
            <p:nvPr/>
          </p:nvPicPr>
          <p:blipFill rotWithShape="1">
            <a:blip r:embed="rId5">
              <a:extLst>
                <a:ext uri="{28A0092B-C50C-407E-A947-70E740481C1C}">
                  <a14:useLocalDpi xmlns:a14="http://schemas.microsoft.com/office/drawing/2010/main" val="0"/>
                </a:ext>
              </a:extLst>
            </a:blip>
            <a:srcRect l="1183" r="1183"/>
            <a:stretch/>
          </p:blipFill>
          <p:spPr>
            <a:xfrm>
              <a:off x="8603387" y="3905332"/>
              <a:ext cx="1995488" cy="2444750"/>
            </a:xfrm>
            <a:prstGeom prst="roundRect">
              <a:avLst>
                <a:gd name="adj" fmla="val 4167"/>
              </a:avLst>
            </a:prstGeom>
            <a:solidFill>
              <a:srgbClr val="FFFFFF"/>
            </a:solidFill>
            <a:ln w="76200" cap="sq">
              <a:noFill/>
              <a:miter lim="800000"/>
            </a:ln>
            <a:effectLst/>
          </p:spPr>
        </p:pic>
        <p:sp>
          <p:nvSpPr>
            <p:cNvPr id="21" name="Text Placeholder 19">
              <a:extLst>
                <a:ext uri="{FF2B5EF4-FFF2-40B4-BE49-F238E27FC236}">
                  <a16:creationId xmlns:a16="http://schemas.microsoft.com/office/drawing/2014/main" id="{929E0686-360A-02AA-D8F4-A1B43A36F1EA}"/>
                </a:ext>
              </a:extLst>
            </p:cNvPr>
            <p:cNvSpPr txBox="1">
              <a:spLocks/>
            </p:cNvSpPr>
            <p:nvPr/>
          </p:nvSpPr>
          <p:spPr>
            <a:xfrm>
              <a:off x="8552860" y="3455894"/>
              <a:ext cx="2096541" cy="42071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gn="ctr">
                <a:buFont typeface="Wingdings 3" charset="2"/>
                <a:buNone/>
              </a:pPr>
              <a:r>
                <a:rPr lang="en-GB" sz="2000" b="1" dirty="0"/>
                <a:t>Irene Vassallo</a:t>
              </a:r>
            </a:p>
          </p:txBody>
        </p:sp>
      </p:grpSp>
    </p:spTree>
    <p:extLst>
      <p:ext uri="{BB962C8B-B14F-4D97-AF65-F5344CB8AC3E}">
        <p14:creationId xmlns:p14="http://schemas.microsoft.com/office/powerpoint/2010/main" val="6022510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23A9961F-9912-E411-A31E-363EEBF64818}"/>
              </a:ext>
            </a:extLst>
          </p:cNvPr>
          <p:cNvCxnSpPr>
            <a:cxnSpLocks/>
            <a:stCxn id="8" idx="3"/>
            <a:endCxn id="15" idx="7"/>
          </p:cNvCxnSpPr>
          <p:nvPr/>
        </p:nvCxnSpPr>
        <p:spPr>
          <a:xfrm flipH="1">
            <a:off x="4310579" y="3579419"/>
            <a:ext cx="1001173" cy="855293"/>
          </a:xfrm>
          <a:prstGeom prst="line">
            <a:avLst/>
          </a:prstGeom>
          <a:ln w="28575"/>
        </p:spPr>
        <p:style>
          <a:lnRef idx="1">
            <a:schemeClr val="accent4"/>
          </a:lnRef>
          <a:fillRef idx="0">
            <a:schemeClr val="accent4"/>
          </a:fillRef>
          <a:effectRef idx="0">
            <a:schemeClr val="accent4"/>
          </a:effectRef>
          <a:fontRef idx="minor">
            <a:schemeClr val="tx1"/>
          </a:fontRef>
        </p:style>
      </p:cxnSp>
      <p:sp>
        <p:nvSpPr>
          <p:cNvPr id="2" name="Title 1">
            <a:extLst>
              <a:ext uri="{FF2B5EF4-FFF2-40B4-BE49-F238E27FC236}">
                <a16:creationId xmlns:a16="http://schemas.microsoft.com/office/drawing/2014/main" id="{83E7B938-00C5-E5EA-C272-56F365C0CCDD}"/>
              </a:ext>
            </a:extLst>
          </p:cNvPr>
          <p:cNvSpPr>
            <a:spLocks noGrp="1"/>
          </p:cNvSpPr>
          <p:nvPr>
            <p:ph type="title"/>
          </p:nvPr>
        </p:nvSpPr>
        <p:spPr/>
        <p:txBody>
          <a:bodyPr/>
          <a:lstStyle/>
          <a:p>
            <a:r>
              <a:rPr lang="en-US" dirty="0"/>
              <a:t>What we did in the exercise </a:t>
            </a:r>
          </a:p>
        </p:txBody>
      </p:sp>
      <p:sp>
        <p:nvSpPr>
          <p:cNvPr id="3" name="Content Placeholder 2">
            <a:extLst>
              <a:ext uri="{FF2B5EF4-FFF2-40B4-BE49-F238E27FC236}">
                <a16:creationId xmlns:a16="http://schemas.microsoft.com/office/drawing/2014/main" id="{09B6A362-5DD5-6EFA-E47C-7D50A358643B}"/>
              </a:ext>
            </a:extLst>
          </p:cNvPr>
          <p:cNvSpPr>
            <a:spLocks noGrp="1"/>
          </p:cNvSpPr>
          <p:nvPr>
            <p:ph idx="1"/>
          </p:nvPr>
        </p:nvSpPr>
        <p:spPr/>
        <p:txBody>
          <a:bodyPr>
            <a:normAutofit/>
          </a:bodyPr>
          <a:lstStyle/>
          <a:p>
            <a:r>
              <a:rPr lang="en-US" sz="2400" dirty="0"/>
              <a:t>Merged a branch into main </a:t>
            </a:r>
          </a:p>
          <a:p>
            <a:r>
              <a:rPr lang="en-US" sz="2400" dirty="0"/>
              <a:t>Resolved a merge conflict </a:t>
            </a:r>
          </a:p>
        </p:txBody>
      </p:sp>
      <p:sp>
        <p:nvSpPr>
          <p:cNvPr id="4" name="Oval 3">
            <a:extLst>
              <a:ext uri="{FF2B5EF4-FFF2-40B4-BE49-F238E27FC236}">
                <a16:creationId xmlns:a16="http://schemas.microsoft.com/office/drawing/2014/main" id="{CB778EAB-827E-6C88-60E4-21C3BC2E7F02}"/>
              </a:ext>
            </a:extLst>
          </p:cNvPr>
          <p:cNvSpPr/>
          <p:nvPr/>
        </p:nvSpPr>
        <p:spPr>
          <a:xfrm>
            <a:off x="1674986" y="4251705"/>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1922CE9F-33E9-C3A7-DAD4-C2253AE2A7C7}"/>
              </a:ext>
            </a:extLst>
          </p:cNvPr>
          <p:cNvSpPr/>
          <p:nvPr/>
        </p:nvSpPr>
        <p:spPr>
          <a:xfrm>
            <a:off x="3432529" y="4284062"/>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90EB0940-80C9-C11B-49DA-039647E0C2FF}"/>
              </a:ext>
            </a:extLst>
          </p:cNvPr>
          <p:cNvCxnSpPr>
            <a:cxnSpLocks/>
          </p:cNvCxnSpPr>
          <p:nvPr/>
        </p:nvCxnSpPr>
        <p:spPr>
          <a:xfrm flipH="1">
            <a:off x="2703686" y="476605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C0E446D1-8136-694E-A081-6A74DF985834}"/>
              </a:ext>
            </a:extLst>
          </p:cNvPr>
          <p:cNvCxnSpPr>
            <a:cxnSpLocks/>
          </p:cNvCxnSpPr>
          <p:nvPr/>
        </p:nvCxnSpPr>
        <p:spPr>
          <a:xfrm flipH="1">
            <a:off x="4461229" y="476605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CFD9C256-EED8-D2E4-755F-4F482292D385}"/>
              </a:ext>
            </a:extLst>
          </p:cNvPr>
          <p:cNvCxnSpPr>
            <a:cxnSpLocks/>
            <a:stCxn id="7" idx="2"/>
          </p:cNvCxnSpPr>
          <p:nvPr/>
        </p:nvCxnSpPr>
        <p:spPr>
          <a:xfrm flipH="1">
            <a:off x="6189802" y="4766055"/>
            <a:ext cx="757812" cy="0"/>
          </a:xfrm>
          <a:prstGeom prst="line">
            <a:avLst/>
          </a:prstGeom>
          <a:ln w="28575"/>
        </p:spPr>
        <p:style>
          <a:lnRef idx="1">
            <a:schemeClr val="dk1"/>
          </a:lnRef>
          <a:fillRef idx="0">
            <a:schemeClr val="dk1"/>
          </a:fillRef>
          <a:effectRef idx="0">
            <a:schemeClr val="dk1"/>
          </a:effectRef>
          <a:fontRef idx="minor">
            <a:schemeClr val="tx1"/>
          </a:fontRef>
        </p:style>
      </p:cxnSp>
      <p:sp>
        <p:nvSpPr>
          <p:cNvPr id="15" name="Oval 14">
            <a:extLst>
              <a:ext uri="{FF2B5EF4-FFF2-40B4-BE49-F238E27FC236}">
                <a16:creationId xmlns:a16="http://schemas.microsoft.com/office/drawing/2014/main" id="{66186FAB-5257-E5F8-A04D-F9E1BAB3F8CF}"/>
              </a:ext>
            </a:extLst>
          </p:cNvPr>
          <p:cNvSpPr/>
          <p:nvPr/>
        </p:nvSpPr>
        <p:spPr>
          <a:xfrm>
            <a:off x="3432529" y="4284062"/>
            <a:ext cx="1028700" cy="1028700"/>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37D9A6DA-F8EE-F65B-9C9E-34DC467FF1F7}"/>
              </a:ext>
            </a:extLst>
          </p:cNvPr>
          <p:cNvSpPr/>
          <p:nvPr/>
        </p:nvSpPr>
        <p:spPr>
          <a:xfrm>
            <a:off x="5161102" y="2701369"/>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4C5E0FD7-C7AD-F192-5A0F-6079D21C6F43}"/>
              </a:ext>
            </a:extLst>
          </p:cNvPr>
          <p:cNvCxnSpPr>
            <a:cxnSpLocks/>
          </p:cNvCxnSpPr>
          <p:nvPr/>
        </p:nvCxnSpPr>
        <p:spPr>
          <a:xfrm flipH="1" flipV="1">
            <a:off x="4204862" y="5249592"/>
            <a:ext cx="956240" cy="827975"/>
          </a:xfrm>
          <a:prstGeom prst="line">
            <a:avLst/>
          </a:prstGeom>
          <a:ln w="28575">
            <a:solidFill>
              <a:schemeClr val="accent2"/>
            </a:solidFill>
          </a:ln>
        </p:spPr>
        <p:style>
          <a:lnRef idx="1">
            <a:schemeClr val="accent4"/>
          </a:lnRef>
          <a:fillRef idx="0">
            <a:schemeClr val="accent4"/>
          </a:fillRef>
          <a:effectRef idx="0">
            <a:schemeClr val="accent4"/>
          </a:effectRef>
          <a:fontRef idx="minor">
            <a:schemeClr val="tx1"/>
          </a:fontRef>
        </p:style>
      </p:cxnSp>
      <p:sp>
        <p:nvSpPr>
          <p:cNvPr id="17" name="Oval 16">
            <a:extLst>
              <a:ext uri="{FF2B5EF4-FFF2-40B4-BE49-F238E27FC236}">
                <a16:creationId xmlns:a16="http://schemas.microsoft.com/office/drawing/2014/main" id="{60D0FF0F-3A90-C788-D616-B28A978B1BDE}"/>
              </a:ext>
            </a:extLst>
          </p:cNvPr>
          <p:cNvSpPr/>
          <p:nvPr/>
        </p:nvSpPr>
        <p:spPr>
          <a:xfrm flipV="1">
            <a:off x="5161102" y="4251705"/>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495123D0-94FE-5461-B060-04DB910664E8}"/>
              </a:ext>
            </a:extLst>
          </p:cNvPr>
          <p:cNvCxnSpPr>
            <a:cxnSpLocks/>
            <a:endCxn id="7" idx="1"/>
          </p:cNvCxnSpPr>
          <p:nvPr/>
        </p:nvCxnSpPr>
        <p:spPr>
          <a:xfrm>
            <a:off x="6101144" y="3514731"/>
            <a:ext cx="997120" cy="887624"/>
          </a:xfrm>
          <a:prstGeom prst="line">
            <a:avLst/>
          </a:prstGeom>
          <a:ln w="28575"/>
        </p:spPr>
        <p:style>
          <a:lnRef idx="1">
            <a:schemeClr val="accent4"/>
          </a:lnRef>
          <a:fillRef idx="0">
            <a:schemeClr val="accent4"/>
          </a:fillRef>
          <a:effectRef idx="0">
            <a:schemeClr val="accent4"/>
          </a:effectRef>
          <a:fontRef idx="minor">
            <a:schemeClr val="tx1"/>
          </a:fontRef>
        </p:style>
      </p:cxnSp>
      <p:cxnSp>
        <p:nvCxnSpPr>
          <p:cNvPr id="24" name="Straight Connector 23">
            <a:extLst>
              <a:ext uri="{FF2B5EF4-FFF2-40B4-BE49-F238E27FC236}">
                <a16:creationId xmlns:a16="http://schemas.microsoft.com/office/drawing/2014/main" id="{E1F5A2CA-ECEE-50D0-CD19-F2F15C62FCC1}"/>
              </a:ext>
            </a:extLst>
          </p:cNvPr>
          <p:cNvCxnSpPr>
            <a:cxnSpLocks/>
          </p:cNvCxnSpPr>
          <p:nvPr/>
        </p:nvCxnSpPr>
        <p:spPr>
          <a:xfrm flipH="1">
            <a:off x="7989786" y="476605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0B81E82F-9E69-B7E5-9C0B-10C570A1EAEE}"/>
              </a:ext>
            </a:extLst>
          </p:cNvPr>
          <p:cNvCxnSpPr>
            <a:cxnSpLocks/>
            <a:stCxn id="6" idx="6"/>
            <a:endCxn id="23" idx="3"/>
          </p:cNvCxnSpPr>
          <p:nvPr/>
        </p:nvCxnSpPr>
        <p:spPr>
          <a:xfrm flipV="1">
            <a:off x="6189802" y="5129755"/>
            <a:ext cx="2694974" cy="958829"/>
          </a:xfrm>
          <a:prstGeom prst="line">
            <a:avLst/>
          </a:prstGeom>
          <a:ln w="28575">
            <a:solidFill>
              <a:schemeClr val="accent2"/>
            </a:solidFill>
          </a:ln>
        </p:spPr>
        <p:style>
          <a:lnRef idx="1">
            <a:schemeClr val="accent4"/>
          </a:lnRef>
          <a:fillRef idx="0">
            <a:schemeClr val="accent4"/>
          </a:fillRef>
          <a:effectRef idx="0">
            <a:schemeClr val="accent4"/>
          </a:effectRef>
          <a:fontRef idx="minor">
            <a:schemeClr val="tx1"/>
          </a:fontRef>
        </p:style>
      </p:cxnSp>
      <p:sp>
        <p:nvSpPr>
          <p:cNvPr id="6" name="Oval 5">
            <a:extLst>
              <a:ext uri="{FF2B5EF4-FFF2-40B4-BE49-F238E27FC236}">
                <a16:creationId xmlns:a16="http://schemas.microsoft.com/office/drawing/2014/main" id="{DACAE024-A0F5-805C-53A3-E6352A018E39}"/>
              </a:ext>
            </a:extLst>
          </p:cNvPr>
          <p:cNvSpPr/>
          <p:nvPr/>
        </p:nvSpPr>
        <p:spPr>
          <a:xfrm>
            <a:off x="5161102" y="5574234"/>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9010A576-5359-516C-01F3-D04A4737801D}"/>
              </a:ext>
            </a:extLst>
          </p:cNvPr>
          <p:cNvSpPr/>
          <p:nvPr/>
        </p:nvSpPr>
        <p:spPr>
          <a:xfrm>
            <a:off x="6947614" y="4251705"/>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52AE65C7-A93B-D701-AB87-C4EE73F82DA2}"/>
              </a:ext>
            </a:extLst>
          </p:cNvPr>
          <p:cNvSpPr/>
          <p:nvPr/>
        </p:nvSpPr>
        <p:spPr>
          <a:xfrm>
            <a:off x="8734126" y="4251705"/>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26FB1C1F-D338-566C-4175-9A91907FD917}"/>
              </a:ext>
            </a:extLst>
          </p:cNvPr>
          <p:cNvSpPr/>
          <p:nvPr/>
        </p:nvSpPr>
        <p:spPr>
          <a:xfrm>
            <a:off x="5165199" y="4251704"/>
            <a:ext cx="1028700" cy="1028700"/>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CC00C76-D769-2621-AC00-7C52FC16E742}"/>
              </a:ext>
            </a:extLst>
          </p:cNvPr>
          <p:cNvSpPr/>
          <p:nvPr/>
        </p:nvSpPr>
        <p:spPr>
          <a:xfrm>
            <a:off x="6944190" y="4268484"/>
            <a:ext cx="1028700" cy="1028700"/>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DA0005C7-9656-9AED-FDCC-1F8E29FC4E75}"/>
              </a:ext>
            </a:extLst>
          </p:cNvPr>
          <p:cNvSpPr/>
          <p:nvPr/>
        </p:nvSpPr>
        <p:spPr>
          <a:xfrm>
            <a:off x="8745167" y="4251704"/>
            <a:ext cx="1028700" cy="1028700"/>
          </a:xfrm>
          <a:prstGeom prst="ellipse">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4943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xit" presetSubtype="0" fill="hold" grpId="1" nodeType="withEffect">
                                  <p:stCondLst>
                                    <p:cond delay="0"/>
                                  </p:stCondLst>
                                  <p:childTnLst>
                                    <p:set>
                                      <p:cBhvr>
                                        <p:cTn id="18" dur="1" fill="hold">
                                          <p:stCondLst>
                                            <p:cond delay="0"/>
                                          </p:stCondLst>
                                        </p:cTn>
                                        <p:tgtEl>
                                          <p:spTgt spid="13"/>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1" end="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xit" presetSubtype="0" fill="hold" grpId="1" nodeType="withEffect">
                                  <p:stCondLst>
                                    <p:cond delay="0"/>
                                  </p:stCondLst>
                                  <p:childTnLst>
                                    <p:set>
                                      <p:cBhvr>
                                        <p:cTn id="32" dur="1" fill="hold">
                                          <p:stCondLst>
                                            <p:cond delay="0"/>
                                          </p:stCondLst>
                                        </p:cTn>
                                        <p:tgtEl>
                                          <p:spTgt spid="14"/>
                                        </p:tgtEl>
                                        <p:attrNameLst>
                                          <p:attrName>style.visibility</p:attrName>
                                        </p:attrNameLst>
                                      </p:cBhvr>
                                      <p:to>
                                        <p:strVal val="hidden"/>
                                      </p:to>
                                    </p:set>
                                  </p:childTnLst>
                                </p:cTn>
                              </p:par>
                              <p:par>
                                <p:cTn id="33" presetID="1"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7" grpId="0" animBg="1"/>
      <p:bldP spid="23" grpId="0" animBg="1"/>
      <p:bldP spid="13" grpId="0" animBg="1"/>
      <p:bldP spid="13" grpId="1" animBg="1"/>
      <p:bldP spid="14" grpId="0" animBg="1"/>
      <p:bldP spid="14" grpId="1" animBg="1"/>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93567-EEEF-18BB-22F1-6C0F84BA247F}"/>
              </a:ext>
            </a:extLst>
          </p:cNvPr>
          <p:cNvSpPr>
            <a:spLocks noGrp="1"/>
          </p:cNvSpPr>
          <p:nvPr>
            <p:ph type="title"/>
          </p:nvPr>
        </p:nvSpPr>
        <p:spPr/>
        <p:txBody>
          <a:bodyPr/>
          <a:lstStyle/>
          <a:p>
            <a:r>
              <a:rPr lang="en-US" dirty="0"/>
              <a:t>A branching rule of thumb</a:t>
            </a:r>
          </a:p>
        </p:txBody>
      </p:sp>
      <p:sp>
        <p:nvSpPr>
          <p:cNvPr id="3" name="Content Placeholder 2">
            <a:extLst>
              <a:ext uri="{FF2B5EF4-FFF2-40B4-BE49-F238E27FC236}">
                <a16:creationId xmlns:a16="http://schemas.microsoft.com/office/drawing/2014/main" id="{EDC0499F-2EE5-B048-FA07-B4422148459A}"/>
              </a:ext>
            </a:extLst>
          </p:cNvPr>
          <p:cNvSpPr>
            <a:spLocks noGrp="1"/>
          </p:cNvSpPr>
          <p:nvPr>
            <p:ph idx="1"/>
          </p:nvPr>
        </p:nvSpPr>
        <p:spPr/>
        <p:txBody>
          <a:bodyPr>
            <a:normAutofit/>
          </a:bodyPr>
          <a:lstStyle/>
          <a:p>
            <a:r>
              <a:rPr lang="en-US" sz="2400" dirty="0"/>
              <a:t>Branches are cheap, make lots of them! </a:t>
            </a:r>
          </a:p>
          <a:p>
            <a:r>
              <a:rPr lang="en-US" sz="2400" dirty="0"/>
              <a:t>The longer branches grow away from main, the harder it will be to merge them back.</a:t>
            </a:r>
          </a:p>
          <a:p>
            <a:r>
              <a:rPr lang="en-US" sz="2400" dirty="0"/>
              <a:t>If you want to change something,  branch - update - commit - merge back to main   </a:t>
            </a:r>
          </a:p>
          <a:p>
            <a:endParaRPr lang="en-US" sz="2400" dirty="0"/>
          </a:p>
        </p:txBody>
      </p:sp>
    </p:spTree>
    <p:extLst>
      <p:ext uri="{BB962C8B-B14F-4D97-AF65-F5344CB8AC3E}">
        <p14:creationId xmlns:p14="http://schemas.microsoft.com/office/powerpoint/2010/main" val="952409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D4AED-4CFD-7ECE-FECD-AA032A3F04F2}"/>
              </a:ext>
            </a:extLst>
          </p:cNvPr>
          <p:cNvSpPr>
            <a:spLocks noGrp="1"/>
          </p:cNvSpPr>
          <p:nvPr>
            <p:ph type="title"/>
          </p:nvPr>
        </p:nvSpPr>
        <p:spPr>
          <a:xfrm>
            <a:off x="681346" y="543251"/>
            <a:ext cx="8596668" cy="1320800"/>
          </a:xfrm>
        </p:spPr>
        <p:txBody>
          <a:bodyPr/>
          <a:lstStyle/>
          <a:p>
            <a:r>
              <a:rPr lang="en-GB" dirty="0"/>
              <a:t>Case Study: Camille &amp; Sylvie</a:t>
            </a:r>
            <a:endParaRPr lang="en-US" dirty="0"/>
          </a:p>
        </p:txBody>
      </p:sp>
      <p:sp>
        <p:nvSpPr>
          <p:cNvPr id="5" name="TextBox 4">
            <a:extLst>
              <a:ext uri="{FF2B5EF4-FFF2-40B4-BE49-F238E27FC236}">
                <a16:creationId xmlns:a16="http://schemas.microsoft.com/office/drawing/2014/main" id="{93839ED1-E09B-A34F-79B8-F0F4F2EF6C5C}"/>
              </a:ext>
            </a:extLst>
          </p:cNvPr>
          <p:cNvSpPr txBox="1"/>
          <p:nvPr/>
        </p:nvSpPr>
        <p:spPr>
          <a:xfrm>
            <a:off x="488322" y="6627168"/>
            <a:ext cx="6096000" cy="230832"/>
          </a:xfrm>
          <a:prstGeom prst="rect">
            <a:avLst/>
          </a:prstGeom>
          <a:noFill/>
        </p:spPr>
        <p:txBody>
          <a:bodyPr wrap="square">
            <a:spAutoFit/>
          </a:bodyPr>
          <a:lstStyle/>
          <a:p>
            <a:r>
              <a:rPr lang="en-GB" sz="900" dirty="0"/>
              <a:t>Work icons created by </a:t>
            </a:r>
            <a:r>
              <a:rPr lang="en-GB" sz="900" dirty="0" err="1"/>
              <a:t>Eucalyp</a:t>
            </a:r>
            <a:r>
              <a:rPr lang="en-GB" sz="900" dirty="0"/>
              <a:t> - </a:t>
            </a:r>
            <a:r>
              <a:rPr lang="en-GB" sz="900" dirty="0" err="1"/>
              <a:t>Flaticon</a:t>
            </a:r>
            <a:endParaRPr lang="en-GB" sz="900" dirty="0"/>
          </a:p>
        </p:txBody>
      </p:sp>
      <p:pic>
        <p:nvPicPr>
          <p:cNvPr id="8" name="Picture 7" descr="A picture containing black, darkness&#10;&#10;Description automatically generated">
            <a:extLst>
              <a:ext uri="{FF2B5EF4-FFF2-40B4-BE49-F238E27FC236}">
                <a16:creationId xmlns:a16="http://schemas.microsoft.com/office/drawing/2014/main" id="{94088504-E9E5-055C-326D-0F5C9B39C22B}"/>
              </a:ext>
            </a:extLst>
          </p:cNvPr>
          <p:cNvPicPr>
            <a:picLocks noChangeAspect="1"/>
          </p:cNvPicPr>
          <p:nvPr/>
        </p:nvPicPr>
        <p:blipFill>
          <a:blip r:embed="rId3">
            <a:duotone>
              <a:schemeClr val="accent1">
                <a:shade val="45000"/>
                <a:satMod val="135000"/>
              </a:schemeClr>
              <a:prstClr val="white"/>
            </a:duotone>
          </a:blip>
          <a:stretch>
            <a:fillRect/>
          </a:stretch>
        </p:blipFill>
        <p:spPr>
          <a:xfrm>
            <a:off x="1619963" y="2311696"/>
            <a:ext cx="2682254" cy="2682254"/>
          </a:xfrm>
          <a:prstGeom prst="rect">
            <a:avLst/>
          </a:prstGeom>
        </p:spPr>
      </p:pic>
      <p:pic>
        <p:nvPicPr>
          <p:cNvPr id="6" name="Graphic 5" descr="Programmer female outline">
            <a:extLst>
              <a:ext uri="{FF2B5EF4-FFF2-40B4-BE49-F238E27FC236}">
                <a16:creationId xmlns:a16="http://schemas.microsoft.com/office/drawing/2014/main" id="{2DBE65B7-E8D6-2BDE-3160-4ED1061B9D0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51342" y="2311696"/>
            <a:ext cx="2682254" cy="2682254"/>
          </a:xfrm>
          <a:prstGeom prst="rect">
            <a:avLst/>
          </a:prstGeom>
        </p:spPr>
      </p:pic>
    </p:spTree>
    <p:extLst>
      <p:ext uri="{BB962C8B-B14F-4D97-AF65-F5344CB8AC3E}">
        <p14:creationId xmlns:p14="http://schemas.microsoft.com/office/powerpoint/2010/main" val="1016360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F6354-38F2-58B7-0933-5FF92EF81A35}"/>
              </a:ext>
            </a:extLst>
          </p:cNvPr>
          <p:cNvSpPr>
            <a:spLocks noGrp="1"/>
          </p:cNvSpPr>
          <p:nvPr>
            <p:ph type="title"/>
          </p:nvPr>
        </p:nvSpPr>
        <p:spPr/>
        <p:txBody>
          <a:bodyPr/>
          <a:lstStyle/>
          <a:p>
            <a:r>
              <a:rPr lang="en-US" dirty="0"/>
              <a:t>Collaboration</a:t>
            </a:r>
          </a:p>
        </p:txBody>
      </p:sp>
      <p:sp>
        <p:nvSpPr>
          <p:cNvPr id="54" name="Rectangle 53">
            <a:extLst>
              <a:ext uri="{FF2B5EF4-FFF2-40B4-BE49-F238E27FC236}">
                <a16:creationId xmlns:a16="http://schemas.microsoft.com/office/drawing/2014/main" id="{40B73A07-BE73-C721-C4A9-E3D9848693D4}"/>
              </a:ext>
            </a:extLst>
          </p:cNvPr>
          <p:cNvSpPr/>
          <p:nvPr/>
        </p:nvSpPr>
        <p:spPr>
          <a:xfrm>
            <a:off x="574864" y="4543380"/>
            <a:ext cx="10543439" cy="2059030"/>
          </a:xfrm>
          <a:custGeom>
            <a:avLst/>
            <a:gdLst>
              <a:gd name="connsiteX0" fmla="*/ 0 w 10543439"/>
              <a:gd name="connsiteY0" fmla="*/ 0 h 2059030"/>
              <a:gd name="connsiteX1" fmla="*/ 342662 w 10543439"/>
              <a:gd name="connsiteY1" fmla="*/ 0 h 2059030"/>
              <a:gd name="connsiteX2" fmla="*/ 1212495 w 10543439"/>
              <a:gd name="connsiteY2" fmla="*/ 0 h 2059030"/>
              <a:gd name="connsiteX3" fmla="*/ 1871460 w 10543439"/>
              <a:gd name="connsiteY3" fmla="*/ 0 h 2059030"/>
              <a:gd name="connsiteX4" fmla="*/ 2214122 w 10543439"/>
              <a:gd name="connsiteY4" fmla="*/ 0 h 2059030"/>
              <a:gd name="connsiteX5" fmla="*/ 2873087 w 10543439"/>
              <a:gd name="connsiteY5" fmla="*/ 0 h 2059030"/>
              <a:gd name="connsiteX6" fmla="*/ 3742921 w 10543439"/>
              <a:gd name="connsiteY6" fmla="*/ 0 h 2059030"/>
              <a:gd name="connsiteX7" fmla="*/ 4296451 w 10543439"/>
              <a:gd name="connsiteY7" fmla="*/ 0 h 2059030"/>
              <a:gd name="connsiteX8" fmla="*/ 4849982 w 10543439"/>
              <a:gd name="connsiteY8" fmla="*/ 0 h 2059030"/>
              <a:gd name="connsiteX9" fmla="*/ 5508947 w 10543439"/>
              <a:gd name="connsiteY9" fmla="*/ 0 h 2059030"/>
              <a:gd name="connsiteX10" fmla="*/ 6273346 w 10543439"/>
              <a:gd name="connsiteY10" fmla="*/ 0 h 2059030"/>
              <a:gd name="connsiteX11" fmla="*/ 7037746 w 10543439"/>
              <a:gd name="connsiteY11" fmla="*/ 0 h 2059030"/>
              <a:gd name="connsiteX12" fmla="*/ 7802145 w 10543439"/>
              <a:gd name="connsiteY12" fmla="*/ 0 h 2059030"/>
              <a:gd name="connsiteX13" fmla="*/ 8671979 w 10543439"/>
              <a:gd name="connsiteY13" fmla="*/ 0 h 2059030"/>
              <a:gd name="connsiteX14" fmla="*/ 9330944 w 10543439"/>
              <a:gd name="connsiteY14" fmla="*/ 0 h 2059030"/>
              <a:gd name="connsiteX15" fmla="*/ 10543439 w 10543439"/>
              <a:gd name="connsiteY15" fmla="*/ 0 h 2059030"/>
              <a:gd name="connsiteX16" fmla="*/ 10543439 w 10543439"/>
              <a:gd name="connsiteY16" fmla="*/ 686343 h 2059030"/>
              <a:gd name="connsiteX17" fmla="*/ 10543439 w 10543439"/>
              <a:gd name="connsiteY17" fmla="*/ 1413867 h 2059030"/>
              <a:gd name="connsiteX18" fmla="*/ 10543439 w 10543439"/>
              <a:gd name="connsiteY18" fmla="*/ 2059030 h 2059030"/>
              <a:gd name="connsiteX19" fmla="*/ 9673605 w 10543439"/>
              <a:gd name="connsiteY19" fmla="*/ 2059030 h 2059030"/>
              <a:gd name="connsiteX20" fmla="*/ 9120075 w 10543439"/>
              <a:gd name="connsiteY20" fmla="*/ 2059030 h 2059030"/>
              <a:gd name="connsiteX21" fmla="*/ 8566544 w 10543439"/>
              <a:gd name="connsiteY21" fmla="*/ 2059030 h 2059030"/>
              <a:gd name="connsiteX22" fmla="*/ 8013014 w 10543439"/>
              <a:gd name="connsiteY22" fmla="*/ 2059030 h 2059030"/>
              <a:gd name="connsiteX23" fmla="*/ 7248614 w 10543439"/>
              <a:gd name="connsiteY23" fmla="*/ 2059030 h 2059030"/>
              <a:gd name="connsiteX24" fmla="*/ 6589649 w 10543439"/>
              <a:gd name="connsiteY24" fmla="*/ 2059030 h 2059030"/>
              <a:gd name="connsiteX25" fmla="*/ 6246988 w 10543439"/>
              <a:gd name="connsiteY25" fmla="*/ 2059030 h 2059030"/>
              <a:gd name="connsiteX26" fmla="*/ 5693457 w 10543439"/>
              <a:gd name="connsiteY26" fmla="*/ 2059030 h 2059030"/>
              <a:gd name="connsiteX27" fmla="*/ 4929058 w 10543439"/>
              <a:gd name="connsiteY27" fmla="*/ 2059030 h 2059030"/>
              <a:gd name="connsiteX28" fmla="*/ 4480962 w 10543439"/>
              <a:gd name="connsiteY28" fmla="*/ 2059030 h 2059030"/>
              <a:gd name="connsiteX29" fmla="*/ 3611128 w 10543439"/>
              <a:gd name="connsiteY29" fmla="*/ 2059030 h 2059030"/>
              <a:gd name="connsiteX30" fmla="*/ 2741294 w 10543439"/>
              <a:gd name="connsiteY30" fmla="*/ 2059030 h 2059030"/>
              <a:gd name="connsiteX31" fmla="*/ 2082329 w 10543439"/>
              <a:gd name="connsiteY31" fmla="*/ 2059030 h 2059030"/>
              <a:gd name="connsiteX32" fmla="*/ 1212495 w 10543439"/>
              <a:gd name="connsiteY32" fmla="*/ 2059030 h 2059030"/>
              <a:gd name="connsiteX33" fmla="*/ 0 w 10543439"/>
              <a:gd name="connsiteY33" fmla="*/ 2059030 h 2059030"/>
              <a:gd name="connsiteX34" fmla="*/ 0 w 10543439"/>
              <a:gd name="connsiteY34" fmla="*/ 1352096 h 2059030"/>
              <a:gd name="connsiteX35" fmla="*/ 0 w 10543439"/>
              <a:gd name="connsiteY35" fmla="*/ 706934 h 2059030"/>
              <a:gd name="connsiteX36" fmla="*/ 0 w 10543439"/>
              <a:gd name="connsiteY36" fmla="*/ 0 h 205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205903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43469" y="196760"/>
                  <a:pt x="10560433" y="453953"/>
                  <a:pt x="10543439" y="686343"/>
                </a:cubicBezTo>
                <a:cubicBezTo>
                  <a:pt x="10526445" y="918733"/>
                  <a:pt x="10535110" y="1171709"/>
                  <a:pt x="10543439" y="1413867"/>
                </a:cubicBezTo>
                <a:cubicBezTo>
                  <a:pt x="10551768" y="1656025"/>
                  <a:pt x="10551969" y="1927264"/>
                  <a:pt x="10543439" y="2059030"/>
                </a:cubicBezTo>
                <a:cubicBezTo>
                  <a:pt x="10115099" y="2083800"/>
                  <a:pt x="10106806" y="2086360"/>
                  <a:pt x="9673605" y="2059030"/>
                </a:cubicBezTo>
                <a:cubicBezTo>
                  <a:pt x="9240404" y="2031700"/>
                  <a:pt x="9250141" y="2062218"/>
                  <a:pt x="9120075" y="2059030"/>
                </a:cubicBezTo>
                <a:cubicBezTo>
                  <a:pt x="8990009" y="2055843"/>
                  <a:pt x="8733382" y="2038188"/>
                  <a:pt x="8566544" y="2059030"/>
                </a:cubicBezTo>
                <a:cubicBezTo>
                  <a:pt x="8399706" y="2079872"/>
                  <a:pt x="8221137" y="2060944"/>
                  <a:pt x="8013014" y="2059030"/>
                </a:cubicBezTo>
                <a:cubicBezTo>
                  <a:pt x="7804891" y="2057117"/>
                  <a:pt x="7570114" y="2080056"/>
                  <a:pt x="7248614" y="2059030"/>
                </a:cubicBezTo>
                <a:cubicBezTo>
                  <a:pt x="6927114" y="2038004"/>
                  <a:pt x="6867055" y="2056980"/>
                  <a:pt x="6589649" y="2059030"/>
                </a:cubicBezTo>
                <a:cubicBezTo>
                  <a:pt x="6312244" y="2061080"/>
                  <a:pt x="6341925" y="2052544"/>
                  <a:pt x="6246988" y="2059030"/>
                </a:cubicBezTo>
                <a:cubicBezTo>
                  <a:pt x="6152051" y="2065516"/>
                  <a:pt x="5852321" y="2045895"/>
                  <a:pt x="5693457" y="2059030"/>
                </a:cubicBezTo>
                <a:cubicBezTo>
                  <a:pt x="5534593" y="2072165"/>
                  <a:pt x="5218388" y="2036878"/>
                  <a:pt x="4929058" y="2059030"/>
                </a:cubicBezTo>
                <a:cubicBezTo>
                  <a:pt x="4639728" y="2081182"/>
                  <a:pt x="4584895" y="2080278"/>
                  <a:pt x="4480962" y="2059030"/>
                </a:cubicBezTo>
                <a:cubicBezTo>
                  <a:pt x="4377029" y="2037782"/>
                  <a:pt x="3934332" y="2048282"/>
                  <a:pt x="3611128" y="2059030"/>
                </a:cubicBezTo>
                <a:cubicBezTo>
                  <a:pt x="3287924" y="2069778"/>
                  <a:pt x="3114054" y="2055768"/>
                  <a:pt x="2741294" y="2059030"/>
                </a:cubicBezTo>
                <a:cubicBezTo>
                  <a:pt x="2368534" y="2062292"/>
                  <a:pt x="2286957" y="2071567"/>
                  <a:pt x="2082329" y="2059030"/>
                </a:cubicBezTo>
                <a:cubicBezTo>
                  <a:pt x="1877701" y="2046493"/>
                  <a:pt x="1444862" y="2066178"/>
                  <a:pt x="1212495" y="2059030"/>
                </a:cubicBezTo>
                <a:cubicBezTo>
                  <a:pt x="980128" y="2051882"/>
                  <a:pt x="329628" y="2076852"/>
                  <a:pt x="0" y="2059030"/>
                </a:cubicBezTo>
                <a:cubicBezTo>
                  <a:pt x="-21914" y="1841723"/>
                  <a:pt x="31705" y="1516876"/>
                  <a:pt x="0" y="1352096"/>
                </a:cubicBezTo>
                <a:cubicBezTo>
                  <a:pt x="-31705" y="1187316"/>
                  <a:pt x="9390" y="1027790"/>
                  <a:pt x="0" y="706934"/>
                </a:cubicBezTo>
                <a:cubicBezTo>
                  <a:pt x="-9390" y="386078"/>
                  <a:pt x="-26479" y="273163"/>
                  <a:pt x="0" y="0"/>
                </a:cubicBezTo>
                <a:close/>
              </a:path>
              <a:path w="10543439" h="205903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68378" y="278088"/>
                  <a:pt x="10513839" y="382728"/>
                  <a:pt x="10543439" y="727524"/>
                </a:cubicBezTo>
                <a:cubicBezTo>
                  <a:pt x="10573039" y="1072320"/>
                  <a:pt x="10515905" y="1286795"/>
                  <a:pt x="10543439" y="1434458"/>
                </a:cubicBezTo>
                <a:cubicBezTo>
                  <a:pt x="10570973" y="1582121"/>
                  <a:pt x="10551270" y="1829546"/>
                  <a:pt x="10543439" y="2059030"/>
                </a:cubicBezTo>
                <a:cubicBezTo>
                  <a:pt x="10414763" y="2043136"/>
                  <a:pt x="10342901" y="2054772"/>
                  <a:pt x="10200777" y="2059030"/>
                </a:cubicBezTo>
                <a:cubicBezTo>
                  <a:pt x="10058653" y="2063288"/>
                  <a:pt x="9510471" y="2020534"/>
                  <a:pt x="9330944" y="2059030"/>
                </a:cubicBezTo>
                <a:cubicBezTo>
                  <a:pt x="9151417" y="2097526"/>
                  <a:pt x="8871975" y="2068593"/>
                  <a:pt x="8671979" y="2059030"/>
                </a:cubicBezTo>
                <a:cubicBezTo>
                  <a:pt x="8471983" y="2049467"/>
                  <a:pt x="8364586" y="2075621"/>
                  <a:pt x="8223882" y="2059030"/>
                </a:cubicBezTo>
                <a:cubicBezTo>
                  <a:pt x="8083178" y="2042439"/>
                  <a:pt x="7860824" y="2071938"/>
                  <a:pt x="7564917" y="2059030"/>
                </a:cubicBezTo>
                <a:cubicBezTo>
                  <a:pt x="7269010" y="2046122"/>
                  <a:pt x="7383163" y="2067714"/>
                  <a:pt x="7222256" y="2059030"/>
                </a:cubicBezTo>
                <a:cubicBezTo>
                  <a:pt x="7061349" y="2050346"/>
                  <a:pt x="6984742" y="2059035"/>
                  <a:pt x="6879594" y="2059030"/>
                </a:cubicBezTo>
                <a:cubicBezTo>
                  <a:pt x="6774446" y="2059025"/>
                  <a:pt x="6402256" y="2073758"/>
                  <a:pt x="6220629" y="2059030"/>
                </a:cubicBezTo>
                <a:cubicBezTo>
                  <a:pt x="6039003" y="2044302"/>
                  <a:pt x="5873871" y="2043051"/>
                  <a:pt x="5772533" y="2059030"/>
                </a:cubicBezTo>
                <a:cubicBezTo>
                  <a:pt x="5671195" y="2075009"/>
                  <a:pt x="5304392" y="2086604"/>
                  <a:pt x="5008134" y="2059030"/>
                </a:cubicBezTo>
                <a:cubicBezTo>
                  <a:pt x="4711876" y="2031456"/>
                  <a:pt x="4742356" y="2044980"/>
                  <a:pt x="4560037" y="2059030"/>
                </a:cubicBezTo>
                <a:cubicBezTo>
                  <a:pt x="4377718" y="2073080"/>
                  <a:pt x="3968473" y="2050366"/>
                  <a:pt x="3795638" y="2059030"/>
                </a:cubicBezTo>
                <a:cubicBezTo>
                  <a:pt x="3622803" y="2067694"/>
                  <a:pt x="3533637" y="2075617"/>
                  <a:pt x="3452976" y="2059030"/>
                </a:cubicBezTo>
                <a:cubicBezTo>
                  <a:pt x="3372315" y="2042443"/>
                  <a:pt x="2871268" y="2037047"/>
                  <a:pt x="2688577" y="2059030"/>
                </a:cubicBezTo>
                <a:cubicBezTo>
                  <a:pt x="2505886" y="2081013"/>
                  <a:pt x="2357892" y="2063202"/>
                  <a:pt x="2240481" y="2059030"/>
                </a:cubicBezTo>
                <a:cubicBezTo>
                  <a:pt x="2123070" y="2054858"/>
                  <a:pt x="2049774" y="2068813"/>
                  <a:pt x="1897819" y="2059030"/>
                </a:cubicBezTo>
                <a:cubicBezTo>
                  <a:pt x="1745864" y="2049247"/>
                  <a:pt x="1572017" y="2074177"/>
                  <a:pt x="1449723" y="2059030"/>
                </a:cubicBezTo>
                <a:cubicBezTo>
                  <a:pt x="1327429" y="2043883"/>
                  <a:pt x="944177" y="2029837"/>
                  <a:pt x="685324" y="2059030"/>
                </a:cubicBezTo>
                <a:cubicBezTo>
                  <a:pt x="426471" y="2088223"/>
                  <a:pt x="192255" y="2072546"/>
                  <a:pt x="0" y="2059030"/>
                </a:cubicBezTo>
                <a:cubicBezTo>
                  <a:pt x="4641" y="1911166"/>
                  <a:pt x="-22161" y="1638149"/>
                  <a:pt x="0" y="1434458"/>
                </a:cubicBezTo>
                <a:cubicBezTo>
                  <a:pt x="22161" y="1230767"/>
                  <a:pt x="-5961" y="941011"/>
                  <a:pt x="0" y="809885"/>
                </a:cubicBezTo>
                <a:cubicBezTo>
                  <a:pt x="5961" y="678759"/>
                  <a:pt x="-24816" y="276303"/>
                  <a:pt x="0" y="0"/>
                </a:cubicBezTo>
                <a:close/>
              </a:path>
            </a:pathLst>
          </a:custGeom>
          <a:solidFill>
            <a:schemeClr val="bg1"/>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9A406702-967E-3553-466E-4EF257D739D1}"/>
              </a:ext>
            </a:extLst>
          </p:cNvPr>
          <p:cNvSpPr/>
          <p:nvPr/>
        </p:nvSpPr>
        <p:spPr>
          <a:xfrm>
            <a:off x="568433" y="1656885"/>
            <a:ext cx="10543439" cy="2059030"/>
          </a:xfrm>
          <a:custGeom>
            <a:avLst/>
            <a:gdLst>
              <a:gd name="connsiteX0" fmla="*/ 0 w 10543439"/>
              <a:gd name="connsiteY0" fmla="*/ 0 h 2059030"/>
              <a:gd name="connsiteX1" fmla="*/ 342662 w 10543439"/>
              <a:gd name="connsiteY1" fmla="*/ 0 h 2059030"/>
              <a:gd name="connsiteX2" fmla="*/ 1212495 w 10543439"/>
              <a:gd name="connsiteY2" fmla="*/ 0 h 2059030"/>
              <a:gd name="connsiteX3" fmla="*/ 1871460 w 10543439"/>
              <a:gd name="connsiteY3" fmla="*/ 0 h 2059030"/>
              <a:gd name="connsiteX4" fmla="*/ 2214122 w 10543439"/>
              <a:gd name="connsiteY4" fmla="*/ 0 h 2059030"/>
              <a:gd name="connsiteX5" fmla="*/ 2873087 w 10543439"/>
              <a:gd name="connsiteY5" fmla="*/ 0 h 2059030"/>
              <a:gd name="connsiteX6" fmla="*/ 3742921 w 10543439"/>
              <a:gd name="connsiteY6" fmla="*/ 0 h 2059030"/>
              <a:gd name="connsiteX7" fmla="*/ 4296451 w 10543439"/>
              <a:gd name="connsiteY7" fmla="*/ 0 h 2059030"/>
              <a:gd name="connsiteX8" fmla="*/ 4849982 w 10543439"/>
              <a:gd name="connsiteY8" fmla="*/ 0 h 2059030"/>
              <a:gd name="connsiteX9" fmla="*/ 5508947 w 10543439"/>
              <a:gd name="connsiteY9" fmla="*/ 0 h 2059030"/>
              <a:gd name="connsiteX10" fmla="*/ 6273346 w 10543439"/>
              <a:gd name="connsiteY10" fmla="*/ 0 h 2059030"/>
              <a:gd name="connsiteX11" fmla="*/ 7037746 w 10543439"/>
              <a:gd name="connsiteY11" fmla="*/ 0 h 2059030"/>
              <a:gd name="connsiteX12" fmla="*/ 7802145 w 10543439"/>
              <a:gd name="connsiteY12" fmla="*/ 0 h 2059030"/>
              <a:gd name="connsiteX13" fmla="*/ 8671979 w 10543439"/>
              <a:gd name="connsiteY13" fmla="*/ 0 h 2059030"/>
              <a:gd name="connsiteX14" fmla="*/ 9330944 w 10543439"/>
              <a:gd name="connsiteY14" fmla="*/ 0 h 2059030"/>
              <a:gd name="connsiteX15" fmla="*/ 10543439 w 10543439"/>
              <a:gd name="connsiteY15" fmla="*/ 0 h 2059030"/>
              <a:gd name="connsiteX16" fmla="*/ 10543439 w 10543439"/>
              <a:gd name="connsiteY16" fmla="*/ 686343 h 2059030"/>
              <a:gd name="connsiteX17" fmla="*/ 10543439 w 10543439"/>
              <a:gd name="connsiteY17" fmla="*/ 1413867 h 2059030"/>
              <a:gd name="connsiteX18" fmla="*/ 10543439 w 10543439"/>
              <a:gd name="connsiteY18" fmla="*/ 2059030 h 2059030"/>
              <a:gd name="connsiteX19" fmla="*/ 9673605 w 10543439"/>
              <a:gd name="connsiteY19" fmla="*/ 2059030 h 2059030"/>
              <a:gd name="connsiteX20" fmla="*/ 9120075 w 10543439"/>
              <a:gd name="connsiteY20" fmla="*/ 2059030 h 2059030"/>
              <a:gd name="connsiteX21" fmla="*/ 8566544 w 10543439"/>
              <a:gd name="connsiteY21" fmla="*/ 2059030 h 2059030"/>
              <a:gd name="connsiteX22" fmla="*/ 8013014 w 10543439"/>
              <a:gd name="connsiteY22" fmla="*/ 2059030 h 2059030"/>
              <a:gd name="connsiteX23" fmla="*/ 7248614 w 10543439"/>
              <a:gd name="connsiteY23" fmla="*/ 2059030 h 2059030"/>
              <a:gd name="connsiteX24" fmla="*/ 6589649 w 10543439"/>
              <a:gd name="connsiteY24" fmla="*/ 2059030 h 2059030"/>
              <a:gd name="connsiteX25" fmla="*/ 6246988 w 10543439"/>
              <a:gd name="connsiteY25" fmla="*/ 2059030 h 2059030"/>
              <a:gd name="connsiteX26" fmla="*/ 5693457 w 10543439"/>
              <a:gd name="connsiteY26" fmla="*/ 2059030 h 2059030"/>
              <a:gd name="connsiteX27" fmla="*/ 4929058 w 10543439"/>
              <a:gd name="connsiteY27" fmla="*/ 2059030 h 2059030"/>
              <a:gd name="connsiteX28" fmla="*/ 4480962 w 10543439"/>
              <a:gd name="connsiteY28" fmla="*/ 2059030 h 2059030"/>
              <a:gd name="connsiteX29" fmla="*/ 3611128 w 10543439"/>
              <a:gd name="connsiteY29" fmla="*/ 2059030 h 2059030"/>
              <a:gd name="connsiteX30" fmla="*/ 2741294 w 10543439"/>
              <a:gd name="connsiteY30" fmla="*/ 2059030 h 2059030"/>
              <a:gd name="connsiteX31" fmla="*/ 2082329 w 10543439"/>
              <a:gd name="connsiteY31" fmla="*/ 2059030 h 2059030"/>
              <a:gd name="connsiteX32" fmla="*/ 1212495 w 10543439"/>
              <a:gd name="connsiteY32" fmla="*/ 2059030 h 2059030"/>
              <a:gd name="connsiteX33" fmla="*/ 0 w 10543439"/>
              <a:gd name="connsiteY33" fmla="*/ 2059030 h 2059030"/>
              <a:gd name="connsiteX34" fmla="*/ 0 w 10543439"/>
              <a:gd name="connsiteY34" fmla="*/ 1352096 h 2059030"/>
              <a:gd name="connsiteX35" fmla="*/ 0 w 10543439"/>
              <a:gd name="connsiteY35" fmla="*/ 706934 h 2059030"/>
              <a:gd name="connsiteX36" fmla="*/ 0 w 10543439"/>
              <a:gd name="connsiteY36" fmla="*/ 0 h 205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205903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43469" y="196760"/>
                  <a:pt x="10560433" y="453953"/>
                  <a:pt x="10543439" y="686343"/>
                </a:cubicBezTo>
                <a:cubicBezTo>
                  <a:pt x="10526445" y="918733"/>
                  <a:pt x="10535110" y="1171709"/>
                  <a:pt x="10543439" y="1413867"/>
                </a:cubicBezTo>
                <a:cubicBezTo>
                  <a:pt x="10551768" y="1656025"/>
                  <a:pt x="10551969" y="1927264"/>
                  <a:pt x="10543439" y="2059030"/>
                </a:cubicBezTo>
                <a:cubicBezTo>
                  <a:pt x="10115099" y="2083800"/>
                  <a:pt x="10106806" y="2086360"/>
                  <a:pt x="9673605" y="2059030"/>
                </a:cubicBezTo>
                <a:cubicBezTo>
                  <a:pt x="9240404" y="2031700"/>
                  <a:pt x="9250141" y="2062218"/>
                  <a:pt x="9120075" y="2059030"/>
                </a:cubicBezTo>
                <a:cubicBezTo>
                  <a:pt x="8990009" y="2055843"/>
                  <a:pt x="8733382" y="2038188"/>
                  <a:pt x="8566544" y="2059030"/>
                </a:cubicBezTo>
                <a:cubicBezTo>
                  <a:pt x="8399706" y="2079872"/>
                  <a:pt x="8221137" y="2060944"/>
                  <a:pt x="8013014" y="2059030"/>
                </a:cubicBezTo>
                <a:cubicBezTo>
                  <a:pt x="7804891" y="2057117"/>
                  <a:pt x="7570114" y="2080056"/>
                  <a:pt x="7248614" y="2059030"/>
                </a:cubicBezTo>
                <a:cubicBezTo>
                  <a:pt x="6927114" y="2038004"/>
                  <a:pt x="6867055" y="2056980"/>
                  <a:pt x="6589649" y="2059030"/>
                </a:cubicBezTo>
                <a:cubicBezTo>
                  <a:pt x="6312244" y="2061080"/>
                  <a:pt x="6341925" y="2052544"/>
                  <a:pt x="6246988" y="2059030"/>
                </a:cubicBezTo>
                <a:cubicBezTo>
                  <a:pt x="6152051" y="2065516"/>
                  <a:pt x="5852321" y="2045895"/>
                  <a:pt x="5693457" y="2059030"/>
                </a:cubicBezTo>
                <a:cubicBezTo>
                  <a:pt x="5534593" y="2072165"/>
                  <a:pt x="5218388" y="2036878"/>
                  <a:pt x="4929058" y="2059030"/>
                </a:cubicBezTo>
                <a:cubicBezTo>
                  <a:pt x="4639728" y="2081182"/>
                  <a:pt x="4584895" y="2080278"/>
                  <a:pt x="4480962" y="2059030"/>
                </a:cubicBezTo>
                <a:cubicBezTo>
                  <a:pt x="4377029" y="2037782"/>
                  <a:pt x="3934332" y="2048282"/>
                  <a:pt x="3611128" y="2059030"/>
                </a:cubicBezTo>
                <a:cubicBezTo>
                  <a:pt x="3287924" y="2069778"/>
                  <a:pt x="3114054" y="2055768"/>
                  <a:pt x="2741294" y="2059030"/>
                </a:cubicBezTo>
                <a:cubicBezTo>
                  <a:pt x="2368534" y="2062292"/>
                  <a:pt x="2286957" y="2071567"/>
                  <a:pt x="2082329" y="2059030"/>
                </a:cubicBezTo>
                <a:cubicBezTo>
                  <a:pt x="1877701" y="2046493"/>
                  <a:pt x="1444862" y="2066178"/>
                  <a:pt x="1212495" y="2059030"/>
                </a:cubicBezTo>
                <a:cubicBezTo>
                  <a:pt x="980128" y="2051882"/>
                  <a:pt x="329628" y="2076852"/>
                  <a:pt x="0" y="2059030"/>
                </a:cubicBezTo>
                <a:cubicBezTo>
                  <a:pt x="-21914" y="1841723"/>
                  <a:pt x="31705" y="1516876"/>
                  <a:pt x="0" y="1352096"/>
                </a:cubicBezTo>
                <a:cubicBezTo>
                  <a:pt x="-31705" y="1187316"/>
                  <a:pt x="9390" y="1027790"/>
                  <a:pt x="0" y="706934"/>
                </a:cubicBezTo>
                <a:cubicBezTo>
                  <a:pt x="-9390" y="386078"/>
                  <a:pt x="-26479" y="273163"/>
                  <a:pt x="0" y="0"/>
                </a:cubicBezTo>
                <a:close/>
              </a:path>
              <a:path w="10543439" h="205903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68378" y="278088"/>
                  <a:pt x="10513839" y="382728"/>
                  <a:pt x="10543439" y="727524"/>
                </a:cubicBezTo>
                <a:cubicBezTo>
                  <a:pt x="10573039" y="1072320"/>
                  <a:pt x="10515905" y="1286795"/>
                  <a:pt x="10543439" y="1434458"/>
                </a:cubicBezTo>
                <a:cubicBezTo>
                  <a:pt x="10570973" y="1582121"/>
                  <a:pt x="10551270" y="1829546"/>
                  <a:pt x="10543439" y="2059030"/>
                </a:cubicBezTo>
                <a:cubicBezTo>
                  <a:pt x="10414763" y="2043136"/>
                  <a:pt x="10342901" y="2054772"/>
                  <a:pt x="10200777" y="2059030"/>
                </a:cubicBezTo>
                <a:cubicBezTo>
                  <a:pt x="10058653" y="2063288"/>
                  <a:pt x="9510471" y="2020534"/>
                  <a:pt x="9330944" y="2059030"/>
                </a:cubicBezTo>
                <a:cubicBezTo>
                  <a:pt x="9151417" y="2097526"/>
                  <a:pt x="8871975" y="2068593"/>
                  <a:pt x="8671979" y="2059030"/>
                </a:cubicBezTo>
                <a:cubicBezTo>
                  <a:pt x="8471983" y="2049467"/>
                  <a:pt x="8364586" y="2075621"/>
                  <a:pt x="8223882" y="2059030"/>
                </a:cubicBezTo>
                <a:cubicBezTo>
                  <a:pt x="8083178" y="2042439"/>
                  <a:pt x="7860824" y="2071938"/>
                  <a:pt x="7564917" y="2059030"/>
                </a:cubicBezTo>
                <a:cubicBezTo>
                  <a:pt x="7269010" y="2046122"/>
                  <a:pt x="7383163" y="2067714"/>
                  <a:pt x="7222256" y="2059030"/>
                </a:cubicBezTo>
                <a:cubicBezTo>
                  <a:pt x="7061349" y="2050346"/>
                  <a:pt x="6984742" y="2059035"/>
                  <a:pt x="6879594" y="2059030"/>
                </a:cubicBezTo>
                <a:cubicBezTo>
                  <a:pt x="6774446" y="2059025"/>
                  <a:pt x="6402256" y="2073758"/>
                  <a:pt x="6220629" y="2059030"/>
                </a:cubicBezTo>
                <a:cubicBezTo>
                  <a:pt x="6039003" y="2044302"/>
                  <a:pt x="5873871" y="2043051"/>
                  <a:pt x="5772533" y="2059030"/>
                </a:cubicBezTo>
                <a:cubicBezTo>
                  <a:pt x="5671195" y="2075009"/>
                  <a:pt x="5304392" y="2086604"/>
                  <a:pt x="5008134" y="2059030"/>
                </a:cubicBezTo>
                <a:cubicBezTo>
                  <a:pt x="4711876" y="2031456"/>
                  <a:pt x="4742356" y="2044980"/>
                  <a:pt x="4560037" y="2059030"/>
                </a:cubicBezTo>
                <a:cubicBezTo>
                  <a:pt x="4377718" y="2073080"/>
                  <a:pt x="3968473" y="2050366"/>
                  <a:pt x="3795638" y="2059030"/>
                </a:cubicBezTo>
                <a:cubicBezTo>
                  <a:pt x="3622803" y="2067694"/>
                  <a:pt x="3533637" y="2075617"/>
                  <a:pt x="3452976" y="2059030"/>
                </a:cubicBezTo>
                <a:cubicBezTo>
                  <a:pt x="3372315" y="2042443"/>
                  <a:pt x="2871268" y="2037047"/>
                  <a:pt x="2688577" y="2059030"/>
                </a:cubicBezTo>
                <a:cubicBezTo>
                  <a:pt x="2505886" y="2081013"/>
                  <a:pt x="2357892" y="2063202"/>
                  <a:pt x="2240481" y="2059030"/>
                </a:cubicBezTo>
                <a:cubicBezTo>
                  <a:pt x="2123070" y="2054858"/>
                  <a:pt x="2049774" y="2068813"/>
                  <a:pt x="1897819" y="2059030"/>
                </a:cubicBezTo>
                <a:cubicBezTo>
                  <a:pt x="1745864" y="2049247"/>
                  <a:pt x="1572017" y="2074177"/>
                  <a:pt x="1449723" y="2059030"/>
                </a:cubicBezTo>
                <a:cubicBezTo>
                  <a:pt x="1327429" y="2043883"/>
                  <a:pt x="944177" y="2029837"/>
                  <a:pt x="685324" y="2059030"/>
                </a:cubicBezTo>
                <a:cubicBezTo>
                  <a:pt x="426471" y="2088223"/>
                  <a:pt x="192255" y="2072546"/>
                  <a:pt x="0" y="2059030"/>
                </a:cubicBezTo>
                <a:cubicBezTo>
                  <a:pt x="4641" y="1911166"/>
                  <a:pt x="-22161" y="1638149"/>
                  <a:pt x="0" y="1434458"/>
                </a:cubicBezTo>
                <a:cubicBezTo>
                  <a:pt x="22161" y="1230767"/>
                  <a:pt x="-5961" y="941011"/>
                  <a:pt x="0" y="809885"/>
                </a:cubicBezTo>
                <a:cubicBezTo>
                  <a:pt x="5961" y="678759"/>
                  <a:pt x="-24816" y="276303"/>
                  <a:pt x="0" y="0"/>
                </a:cubicBezTo>
                <a:close/>
              </a:path>
            </a:pathLst>
          </a:custGeom>
          <a:solidFill>
            <a:schemeClr val="bg1"/>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DE60F32C-03F8-55D3-C3D2-922AFDEA834E}"/>
              </a:ext>
            </a:extLst>
          </p:cNvPr>
          <p:cNvGrpSpPr/>
          <p:nvPr/>
        </p:nvGrpSpPr>
        <p:grpSpPr>
          <a:xfrm>
            <a:off x="531900" y="1137483"/>
            <a:ext cx="3071935" cy="3053654"/>
            <a:chOff x="1366127" y="3804346"/>
            <a:chExt cx="3071935" cy="3053654"/>
          </a:xfrm>
        </p:grpSpPr>
        <p:pic>
          <p:nvPicPr>
            <p:cNvPr id="5" name="Graphic 4">
              <a:extLst>
                <a:ext uri="{FF2B5EF4-FFF2-40B4-BE49-F238E27FC236}">
                  <a16:creationId xmlns:a16="http://schemas.microsoft.com/office/drawing/2014/main" id="{88F81F65-BDC3-3BBD-4DE6-9761C75C5BB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37713" y="4739303"/>
              <a:ext cx="858683" cy="858683"/>
            </a:xfrm>
            <a:prstGeom prst="rect">
              <a:avLst/>
            </a:prstGeom>
          </p:spPr>
        </p:pic>
        <p:grpSp>
          <p:nvGrpSpPr>
            <p:cNvPr id="6" name="Group 5">
              <a:extLst>
                <a:ext uri="{FF2B5EF4-FFF2-40B4-BE49-F238E27FC236}">
                  <a16:creationId xmlns:a16="http://schemas.microsoft.com/office/drawing/2014/main" id="{EE51F51C-540D-0007-A484-7C1C269EDFD6}"/>
                </a:ext>
              </a:extLst>
            </p:cNvPr>
            <p:cNvGrpSpPr/>
            <p:nvPr/>
          </p:nvGrpSpPr>
          <p:grpSpPr>
            <a:xfrm>
              <a:off x="1366127" y="3804346"/>
              <a:ext cx="3071935" cy="3053654"/>
              <a:chOff x="1366127" y="3804346"/>
              <a:chExt cx="3071935" cy="3053654"/>
            </a:xfrm>
          </p:grpSpPr>
          <p:pic>
            <p:nvPicPr>
              <p:cNvPr id="7" name="Graphic 6" descr="Laptop with solid fill">
                <a:extLst>
                  <a:ext uri="{FF2B5EF4-FFF2-40B4-BE49-F238E27FC236}">
                    <a16:creationId xmlns:a16="http://schemas.microsoft.com/office/drawing/2014/main" id="{ADC16722-7FA6-9CFA-AC34-3E8264B74B1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97459" y="3817397"/>
                <a:ext cx="3040603" cy="3040603"/>
              </a:xfrm>
              <a:prstGeom prst="rect">
                <a:avLst/>
              </a:prstGeom>
            </p:spPr>
          </p:pic>
          <p:pic>
            <p:nvPicPr>
              <p:cNvPr id="8" name="Graphic 7" descr="Laptop outline">
                <a:extLst>
                  <a:ext uri="{FF2B5EF4-FFF2-40B4-BE49-F238E27FC236}">
                    <a16:creationId xmlns:a16="http://schemas.microsoft.com/office/drawing/2014/main" id="{065C95DF-099F-A649-5D65-AEC2C78F4F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66127" y="3804346"/>
                <a:ext cx="3042000" cy="3042000"/>
              </a:xfrm>
              <a:prstGeom prst="rect">
                <a:avLst/>
              </a:prstGeom>
            </p:spPr>
          </p:pic>
        </p:grpSp>
      </p:grpSp>
      <p:grpSp>
        <p:nvGrpSpPr>
          <p:cNvPr id="9" name="Group 8">
            <a:extLst>
              <a:ext uri="{FF2B5EF4-FFF2-40B4-BE49-F238E27FC236}">
                <a16:creationId xmlns:a16="http://schemas.microsoft.com/office/drawing/2014/main" id="{9A8604A5-442E-6D61-3622-028745DA79B0}"/>
              </a:ext>
            </a:extLst>
          </p:cNvPr>
          <p:cNvGrpSpPr/>
          <p:nvPr/>
        </p:nvGrpSpPr>
        <p:grpSpPr>
          <a:xfrm>
            <a:off x="407251" y="3701850"/>
            <a:ext cx="4321315" cy="3742090"/>
            <a:chOff x="5096920" y="3386757"/>
            <a:chExt cx="4321315" cy="3742090"/>
          </a:xfrm>
        </p:grpSpPr>
        <p:grpSp>
          <p:nvGrpSpPr>
            <p:cNvPr id="10" name="Group 9">
              <a:extLst>
                <a:ext uri="{FF2B5EF4-FFF2-40B4-BE49-F238E27FC236}">
                  <a16:creationId xmlns:a16="http://schemas.microsoft.com/office/drawing/2014/main" id="{BD7E3F86-055C-DA08-6DAB-8B1C45DF1C75}"/>
                </a:ext>
              </a:extLst>
            </p:cNvPr>
            <p:cNvGrpSpPr/>
            <p:nvPr/>
          </p:nvGrpSpPr>
          <p:grpSpPr>
            <a:xfrm>
              <a:off x="5096920" y="3386757"/>
              <a:ext cx="4321315" cy="3742090"/>
              <a:chOff x="6637198" y="3500440"/>
              <a:chExt cx="3071935" cy="3042000"/>
            </a:xfrm>
          </p:grpSpPr>
          <p:pic>
            <p:nvPicPr>
              <p:cNvPr id="14" name="Graphic 13" descr="Cloud with solid fill">
                <a:extLst>
                  <a:ext uri="{FF2B5EF4-FFF2-40B4-BE49-F238E27FC236}">
                    <a16:creationId xmlns:a16="http://schemas.microsoft.com/office/drawing/2014/main" id="{53106CE5-6AD9-C536-18B7-A6F24A2A6B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67133" y="3500440"/>
                <a:ext cx="3042000" cy="3042000"/>
              </a:xfrm>
              <a:prstGeom prst="rect">
                <a:avLst/>
              </a:prstGeom>
            </p:spPr>
          </p:pic>
          <p:pic>
            <p:nvPicPr>
              <p:cNvPr id="15" name="Graphic 14" descr="Cloud outline">
                <a:extLst>
                  <a:ext uri="{FF2B5EF4-FFF2-40B4-BE49-F238E27FC236}">
                    <a16:creationId xmlns:a16="http://schemas.microsoft.com/office/drawing/2014/main" id="{684069B4-ADD9-8213-200D-1515DC81186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37198" y="3500440"/>
                <a:ext cx="3042000" cy="3042000"/>
              </a:xfrm>
              <a:prstGeom prst="rect">
                <a:avLst/>
              </a:prstGeom>
            </p:spPr>
          </p:pic>
        </p:grpSp>
        <p:pic>
          <p:nvPicPr>
            <p:cNvPr id="11" name="Graphic 10">
              <a:extLst>
                <a:ext uri="{FF2B5EF4-FFF2-40B4-BE49-F238E27FC236}">
                  <a16:creationId xmlns:a16="http://schemas.microsoft.com/office/drawing/2014/main" id="{A6104292-3204-B0D9-FCF0-90E672EBBB89}"/>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40856" y="5186362"/>
              <a:ext cx="811406" cy="800291"/>
            </a:xfrm>
            <a:prstGeom prst="rect">
              <a:avLst/>
            </a:prstGeom>
          </p:spPr>
        </p:pic>
        <p:pic>
          <p:nvPicPr>
            <p:cNvPr id="12" name="Graphic 11">
              <a:extLst>
                <a:ext uri="{FF2B5EF4-FFF2-40B4-BE49-F238E27FC236}">
                  <a16:creationId xmlns:a16="http://schemas.microsoft.com/office/drawing/2014/main" id="{2515F735-7307-7BC2-172B-ACB33086B46F}"/>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275966" y="4320973"/>
              <a:ext cx="1512000" cy="1512000"/>
            </a:xfrm>
            <a:prstGeom prst="rect">
              <a:avLst/>
            </a:prstGeom>
          </p:spPr>
        </p:pic>
        <p:pic>
          <p:nvPicPr>
            <p:cNvPr id="13" name="Graphic 12">
              <a:extLst>
                <a:ext uri="{FF2B5EF4-FFF2-40B4-BE49-F238E27FC236}">
                  <a16:creationId xmlns:a16="http://schemas.microsoft.com/office/drawing/2014/main" id="{C2DB653A-08A6-0F93-BDC2-F795D8BAC4E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366824" y="5076973"/>
              <a:ext cx="1080000" cy="1080000"/>
            </a:xfrm>
            <a:prstGeom prst="rect">
              <a:avLst/>
            </a:prstGeom>
          </p:spPr>
        </p:pic>
      </p:grpSp>
      <p:grpSp>
        <p:nvGrpSpPr>
          <p:cNvPr id="33" name="Group 32">
            <a:extLst>
              <a:ext uri="{FF2B5EF4-FFF2-40B4-BE49-F238E27FC236}">
                <a16:creationId xmlns:a16="http://schemas.microsoft.com/office/drawing/2014/main" id="{4F971C94-E70A-B6B3-9DA3-4BF35553F755}"/>
              </a:ext>
            </a:extLst>
          </p:cNvPr>
          <p:cNvGrpSpPr/>
          <p:nvPr/>
        </p:nvGrpSpPr>
        <p:grpSpPr>
          <a:xfrm>
            <a:off x="4330988" y="2094087"/>
            <a:ext cx="6301328" cy="1061057"/>
            <a:chOff x="4009104" y="2033351"/>
            <a:chExt cx="6301328" cy="1061057"/>
          </a:xfrm>
        </p:grpSpPr>
        <p:sp>
          <p:nvSpPr>
            <p:cNvPr id="17" name="Oval 16">
              <a:extLst>
                <a:ext uri="{FF2B5EF4-FFF2-40B4-BE49-F238E27FC236}">
                  <a16:creationId xmlns:a16="http://schemas.microsoft.com/office/drawing/2014/main" id="{2D1EB682-18F9-0EA4-9119-2FEABD56838E}"/>
                </a:ext>
              </a:extLst>
            </p:cNvPr>
            <p:cNvSpPr/>
            <p:nvPr/>
          </p:nvSpPr>
          <p:spPr>
            <a:xfrm>
              <a:off x="4009104" y="203335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17A38B57-4C70-2F8B-7D8C-821524F110EF}"/>
                </a:ext>
              </a:extLst>
            </p:cNvPr>
            <p:cNvCxnSpPr>
              <a:cxnSpLocks/>
            </p:cNvCxnSpPr>
            <p:nvPr/>
          </p:nvCxnSpPr>
          <p:spPr>
            <a:xfrm flipH="1">
              <a:off x="5037804" y="2547701"/>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DC557094-6758-60D1-7E38-D6FB8468DD28}"/>
                </a:ext>
              </a:extLst>
            </p:cNvPr>
            <p:cNvCxnSpPr>
              <a:cxnSpLocks/>
            </p:cNvCxnSpPr>
            <p:nvPr/>
          </p:nvCxnSpPr>
          <p:spPr>
            <a:xfrm flipH="1">
              <a:off x="6795347" y="2547701"/>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642CB0AC-95A1-9D7D-76E7-A2EFDCDB7052}"/>
                </a:ext>
              </a:extLst>
            </p:cNvPr>
            <p:cNvCxnSpPr>
              <a:cxnSpLocks/>
            </p:cNvCxnSpPr>
            <p:nvPr/>
          </p:nvCxnSpPr>
          <p:spPr>
            <a:xfrm flipH="1">
              <a:off x="8530856" y="2547701"/>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24" name="Oval 23">
              <a:extLst>
                <a:ext uri="{FF2B5EF4-FFF2-40B4-BE49-F238E27FC236}">
                  <a16:creationId xmlns:a16="http://schemas.microsoft.com/office/drawing/2014/main" id="{E90FDFDE-340D-1798-1D30-D04EF350F188}"/>
                </a:ext>
              </a:extLst>
            </p:cNvPr>
            <p:cNvSpPr/>
            <p:nvPr/>
          </p:nvSpPr>
          <p:spPr>
            <a:xfrm>
              <a:off x="5766647" y="2065708"/>
              <a:ext cx="1028700" cy="1028700"/>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B032E34E-3B43-E5B2-BD82-10248A2F2F99}"/>
                </a:ext>
              </a:extLst>
            </p:cNvPr>
            <p:cNvSpPr/>
            <p:nvPr/>
          </p:nvSpPr>
          <p:spPr>
            <a:xfrm flipV="1">
              <a:off x="7495220" y="203335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2E2A145B-1AE0-4C0B-3CFE-021C5578A5C7}"/>
                </a:ext>
              </a:extLst>
            </p:cNvPr>
            <p:cNvSpPr/>
            <p:nvPr/>
          </p:nvSpPr>
          <p:spPr>
            <a:xfrm>
              <a:off x="9281732" y="203335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5" name="Group 44">
            <a:extLst>
              <a:ext uri="{FF2B5EF4-FFF2-40B4-BE49-F238E27FC236}">
                <a16:creationId xmlns:a16="http://schemas.microsoft.com/office/drawing/2014/main" id="{763EF136-B64A-443C-B360-73B0393FD9AC}"/>
              </a:ext>
            </a:extLst>
          </p:cNvPr>
          <p:cNvGrpSpPr/>
          <p:nvPr/>
        </p:nvGrpSpPr>
        <p:grpSpPr>
          <a:xfrm>
            <a:off x="4695409" y="5042367"/>
            <a:ext cx="6301328" cy="1061057"/>
            <a:chOff x="4009104" y="2033351"/>
            <a:chExt cx="6301328" cy="1061057"/>
          </a:xfrm>
        </p:grpSpPr>
        <p:sp>
          <p:nvSpPr>
            <p:cNvPr id="46" name="Oval 45">
              <a:extLst>
                <a:ext uri="{FF2B5EF4-FFF2-40B4-BE49-F238E27FC236}">
                  <a16:creationId xmlns:a16="http://schemas.microsoft.com/office/drawing/2014/main" id="{94F44E14-83CD-7A69-B8AC-2C31B64B5949}"/>
                </a:ext>
              </a:extLst>
            </p:cNvPr>
            <p:cNvSpPr/>
            <p:nvPr/>
          </p:nvSpPr>
          <p:spPr>
            <a:xfrm>
              <a:off x="4009104" y="203335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F7F212DA-7FC2-2F29-0E3B-F4D6691D17C2}"/>
                </a:ext>
              </a:extLst>
            </p:cNvPr>
            <p:cNvSpPr/>
            <p:nvPr/>
          </p:nvSpPr>
          <p:spPr>
            <a:xfrm>
              <a:off x="9281732" y="203335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a:extLst>
                <a:ext uri="{FF2B5EF4-FFF2-40B4-BE49-F238E27FC236}">
                  <a16:creationId xmlns:a16="http://schemas.microsoft.com/office/drawing/2014/main" id="{77C35704-9178-FABA-1CF9-39A4DFC28825}"/>
                </a:ext>
              </a:extLst>
            </p:cNvPr>
            <p:cNvCxnSpPr>
              <a:cxnSpLocks/>
            </p:cNvCxnSpPr>
            <p:nvPr/>
          </p:nvCxnSpPr>
          <p:spPr>
            <a:xfrm flipH="1">
              <a:off x="5037804" y="2547701"/>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4F40D35A-BEC6-6443-35E7-FA867CAA58CD}"/>
                </a:ext>
              </a:extLst>
            </p:cNvPr>
            <p:cNvCxnSpPr>
              <a:cxnSpLocks/>
            </p:cNvCxnSpPr>
            <p:nvPr/>
          </p:nvCxnSpPr>
          <p:spPr>
            <a:xfrm flipH="1">
              <a:off x="6795347" y="2547701"/>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436D4B43-2B47-FA65-888C-20723FE5A641}"/>
                </a:ext>
              </a:extLst>
            </p:cNvPr>
            <p:cNvCxnSpPr>
              <a:cxnSpLocks/>
            </p:cNvCxnSpPr>
            <p:nvPr/>
          </p:nvCxnSpPr>
          <p:spPr>
            <a:xfrm flipH="1">
              <a:off x="8530856" y="2547701"/>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51" name="Oval 50">
              <a:extLst>
                <a:ext uri="{FF2B5EF4-FFF2-40B4-BE49-F238E27FC236}">
                  <a16:creationId xmlns:a16="http://schemas.microsoft.com/office/drawing/2014/main" id="{A1876CEE-9B73-15E9-534C-15550F0785EE}"/>
                </a:ext>
              </a:extLst>
            </p:cNvPr>
            <p:cNvSpPr/>
            <p:nvPr/>
          </p:nvSpPr>
          <p:spPr>
            <a:xfrm>
              <a:off x="5766647" y="2065708"/>
              <a:ext cx="1028700" cy="1028700"/>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4DC34FA5-1546-F612-3C75-5E02BD943138}"/>
                </a:ext>
              </a:extLst>
            </p:cNvPr>
            <p:cNvSpPr/>
            <p:nvPr/>
          </p:nvSpPr>
          <p:spPr>
            <a:xfrm flipV="1">
              <a:off x="7495220" y="2033351"/>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5" name="TextBox 54">
            <a:extLst>
              <a:ext uri="{FF2B5EF4-FFF2-40B4-BE49-F238E27FC236}">
                <a16:creationId xmlns:a16="http://schemas.microsoft.com/office/drawing/2014/main" id="{D8D98187-A374-9EC8-3BC1-6DDEA6114451}"/>
              </a:ext>
            </a:extLst>
          </p:cNvPr>
          <p:cNvSpPr txBox="1"/>
          <p:nvPr/>
        </p:nvSpPr>
        <p:spPr>
          <a:xfrm>
            <a:off x="10366731" y="3290364"/>
            <a:ext cx="1256836" cy="369332"/>
          </a:xfrm>
          <a:prstGeom prst="rect">
            <a:avLst/>
          </a:prstGeom>
          <a:noFill/>
        </p:spPr>
        <p:txBody>
          <a:bodyPr wrap="square" rtlCol="0">
            <a:spAutoFit/>
          </a:bodyPr>
          <a:lstStyle/>
          <a:p>
            <a:r>
              <a:rPr lang="en-US" dirty="0"/>
              <a:t>Local</a:t>
            </a:r>
          </a:p>
        </p:txBody>
      </p:sp>
      <p:sp>
        <p:nvSpPr>
          <p:cNvPr id="56" name="TextBox 55">
            <a:extLst>
              <a:ext uri="{FF2B5EF4-FFF2-40B4-BE49-F238E27FC236}">
                <a16:creationId xmlns:a16="http://schemas.microsoft.com/office/drawing/2014/main" id="{F7D47522-A115-6C84-4A37-12EFA52C63A7}"/>
              </a:ext>
            </a:extLst>
          </p:cNvPr>
          <p:cNvSpPr txBox="1"/>
          <p:nvPr/>
        </p:nvSpPr>
        <p:spPr>
          <a:xfrm>
            <a:off x="10140315" y="6187879"/>
            <a:ext cx="1256836" cy="369332"/>
          </a:xfrm>
          <a:prstGeom prst="rect">
            <a:avLst/>
          </a:prstGeom>
          <a:noFill/>
        </p:spPr>
        <p:txBody>
          <a:bodyPr wrap="square" rtlCol="0">
            <a:spAutoFit/>
          </a:bodyPr>
          <a:lstStyle/>
          <a:p>
            <a:r>
              <a:rPr lang="en-US" dirty="0"/>
              <a:t>Remote</a:t>
            </a:r>
          </a:p>
        </p:txBody>
      </p:sp>
    </p:spTree>
    <p:extLst>
      <p:ext uri="{BB962C8B-B14F-4D97-AF65-F5344CB8AC3E}">
        <p14:creationId xmlns:p14="http://schemas.microsoft.com/office/powerpoint/2010/main" val="2572920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3" grpId="0" animBg="1"/>
      <p:bldP spid="55" grpId="0"/>
      <p:bldP spid="5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618506-C12B-2287-3C4B-15946E626264}"/>
              </a:ext>
            </a:extLst>
          </p:cNvPr>
          <p:cNvSpPr/>
          <p:nvPr/>
        </p:nvSpPr>
        <p:spPr>
          <a:xfrm>
            <a:off x="527337" y="1239904"/>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accent3">
              <a:lumMod val="20000"/>
              <a:lumOff val="80000"/>
              <a:alpha val="52914"/>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B7D4A16-9122-D5AD-3902-6321BA5F95F6}"/>
              </a:ext>
            </a:extLst>
          </p:cNvPr>
          <p:cNvSpPr>
            <a:spLocks noGrp="1"/>
          </p:cNvSpPr>
          <p:nvPr>
            <p:ph type="title"/>
          </p:nvPr>
        </p:nvSpPr>
        <p:spPr/>
        <p:txBody>
          <a:bodyPr/>
          <a:lstStyle/>
          <a:p>
            <a:r>
              <a:rPr lang="en-US" dirty="0"/>
              <a:t>Let’s walk through how this works</a:t>
            </a:r>
          </a:p>
        </p:txBody>
      </p:sp>
      <p:pic>
        <p:nvPicPr>
          <p:cNvPr id="4" name="Picture 3" descr="A picture containing black, darkness&#10;&#10;Description automatically generated">
            <a:extLst>
              <a:ext uri="{FF2B5EF4-FFF2-40B4-BE49-F238E27FC236}">
                <a16:creationId xmlns:a16="http://schemas.microsoft.com/office/drawing/2014/main" id="{7552C9BC-6A8D-CE10-7CAA-C2D94BC3D6BF}"/>
              </a:ext>
            </a:extLst>
          </p:cNvPr>
          <p:cNvPicPr>
            <a:picLocks noChangeAspect="1"/>
          </p:cNvPicPr>
          <p:nvPr/>
        </p:nvPicPr>
        <p:blipFill>
          <a:blip r:embed="rId3">
            <a:duotone>
              <a:schemeClr val="accent1">
                <a:shade val="45000"/>
                <a:satMod val="135000"/>
              </a:schemeClr>
              <a:prstClr val="white"/>
            </a:duotone>
          </a:blip>
          <a:stretch>
            <a:fillRect/>
          </a:stretch>
        </p:blipFill>
        <p:spPr>
          <a:xfrm>
            <a:off x="945324" y="1466209"/>
            <a:ext cx="1275390" cy="1275390"/>
          </a:xfrm>
          <a:prstGeom prst="rect">
            <a:avLst/>
          </a:prstGeom>
        </p:spPr>
      </p:pic>
      <p:sp>
        <p:nvSpPr>
          <p:cNvPr id="14" name="Rectangle 13">
            <a:extLst>
              <a:ext uri="{FF2B5EF4-FFF2-40B4-BE49-F238E27FC236}">
                <a16:creationId xmlns:a16="http://schemas.microsoft.com/office/drawing/2014/main" id="{03E7BBAB-55FB-0996-D4F5-0F6CF1415505}"/>
              </a:ext>
            </a:extLst>
          </p:cNvPr>
          <p:cNvSpPr/>
          <p:nvPr/>
        </p:nvSpPr>
        <p:spPr>
          <a:xfrm>
            <a:off x="527337" y="3148952"/>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accent1">
              <a:lumMod val="20000"/>
              <a:lumOff val="80000"/>
              <a:alpha val="50000"/>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3AF21F2-AA39-023B-A19C-8DEDACAF58BA}"/>
              </a:ext>
            </a:extLst>
          </p:cNvPr>
          <p:cNvSpPr/>
          <p:nvPr/>
        </p:nvSpPr>
        <p:spPr>
          <a:xfrm>
            <a:off x="527336" y="5058000"/>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accent6">
              <a:lumMod val="20000"/>
              <a:lumOff val="80000"/>
              <a:alpha val="50000"/>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descr="Programmer female outline">
            <a:extLst>
              <a:ext uri="{FF2B5EF4-FFF2-40B4-BE49-F238E27FC236}">
                <a16:creationId xmlns:a16="http://schemas.microsoft.com/office/drawing/2014/main" id="{C8D125EE-A9B8-DE35-24C6-2E5ED12AF9A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2219" y="5281200"/>
            <a:ext cx="1281600" cy="1281600"/>
          </a:xfrm>
          <a:prstGeom prst="rect">
            <a:avLst/>
          </a:prstGeom>
        </p:spPr>
      </p:pic>
      <p:grpSp>
        <p:nvGrpSpPr>
          <p:cNvPr id="25" name="Group 24">
            <a:extLst>
              <a:ext uri="{FF2B5EF4-FFF2-40B4-BE49-F238E27FC236}">
                <a16:creationId xmlns:a16="http://schemas.microsoft.com/office/drawing/2014/main" id="{3B9359CC-AD07-FFCA-6EA7-B72C098A8BF5}"/>
              </a:ext>
            </a:extLst>
          </p:cNvPr>
          <p:cNvGrpSpPr>
            <a:grpSpLocks noChangeAspect="1"/>
          </p:cNvGrpSpPr>
          <p:nvPr/>
        </p:nvGrpSpPr>
        <p:grpSpPr>
          <a:xfrm>
            <a:off x="719019" y="3265097"/>
            <a:ext cx="1728000" cy="1495711"/>
            <a:chOff x="5096920" y="3386757"/>
            <a:chExt cx="4321315" cy="3742090"/>
          </a:xfrm>
        </p:grpSpPr>
        <p:grpSp>
          <p:nvGrpSpPr>
            <p:cNvPr id="26" name="Group 25">
              <a:extLst>
                <a:ext uri="{FF2B5EF4-FFF2-40B4-BE49-F238E27FC236}">
                  <a16:creationId xmlns:a16="http://schemas.microsoft.com/office/drawing/2014/main" id="{4C7FD76A-D956-DBD6-D080-A289C208BBB1}"/>
                </a:ext>
              </a:extLst>
            </p:cNvPr>
            <p:cNvGrpSpPr/>
            <p:nvPr/>
          </p:nvGrpSpPr>
          <p:grpSpPr>
            <a:xfrm>
              <a:off x="5096920" y="3386757"/>
              <a:ext cx="4321315" cy="3742090"/>
              <a:chOff x="6637198" y="3500440"/>
              <a:chExt cx="3071935" cy="3042000"/>
            </a:xfrm>
          </p:grpSpPr>
          <p:pic>
            <p:nvPicPr>
              <p:cNvPr id="30" name="Graphic 29" descr="Cloud with solid fill">
                <a:extLst>
                  <a:ext uri="{FF2B5EF4-FFF2-40B4-BE49-F238E27FC236}">
                    <a16:creationId xmlns:a16="http://schemas.microsoft.com/office/drawing/2014/main" id="{3CD511FF-DEAA-6075-400C-06912677F28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67133" y="3500440"/>
                <a:ext cx="3042000" cy="3042000"/>
              </a:xfrm>
              <a:prstGeom prst="rect">
                <a:avLst/>
              </a:prstGeom>
            </p:spPr>
          </p:pic>
          <p:pic>
            <p:nvPicPr>
              <p:cNvPr id="31" name="Graphic 30" descr="Cloud outline">
                <a:extLst>
                  <a:ext uri="{FF2B5EF4-FFF2-40B4-BE49-F238E27FC236}">
                    <a16:creationId xmlns:a16="http://schemas.microsoft.com/office/drawing/2014/main" id="{72583E36-C879-E68E-1DFA-425657956C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37198" y="3500440"/>
                <a:ext cx="3042000" cy="3042000"/>
              </a:xfrm>
              <a:prstGeom prst="rect">
                <a:avLst/>
              </a:prstGeom>
            </p:spPr>
          </p:pic>
        </p:grpSp>
        <p:pic>
          <p:nvPicPr>
            <p:cNvPr id="27" name="Graphic 26">
              <a:extLst>
                <a:ext uri="{FF2B5EF4-FFF2-40B4-BE49-F238E27FC236}">
                  <a16:creationId xmlns:a16="http://schemas.microsoft.com/office/drawing/2014/main" id="{A195006E-2729-8AE5-FCB9-FC270C8A892A}"/>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40856" y="5186362"/>
              <a:ext cx="811406" cy="800291"/>
            </a:xfrm>
            <a:prstGeom prst="rect">
              <a:avLst/>
            </a:prstGeom>
          </p:spPr>
        </p:pic>
        <p:pic>
          <p:nvPicPr>
            <p:cNvPr id="28" name="Graphic 27">
              <a:extLst>
                <a:ext uri="{FF2B5EF4-FFF2-40B4-BE49-F238E27FC236}">
                  <a16:creationId xmlns:a16="http://schemas.microsoft.com/office/drawing/2014/main" id="{260CD8F4-0805-CAF0-2798-D5A3DDBCBCA0}"/>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275966" y="4320973"/>
              <a:ext cx="1512000" cy="1512000"/>
            </a:xfrm>
            <a:prstGeom prst="rect">
              <a:avLst/>
            </a:prstGeom>
          </p:spPr>
        </p:pic>
        <p:pic>
          <p:nvPicPr>
            <p:cNvPr id="29" name="Graphic 28">
              <a:extLst>
                <a:ext uri="{FF2B5EF4-FFF2-40B4-BE49-F238E27FC236}">
                  <a16:creationId xmlns:a16="http://schemas.microsoft.com/office/drawing/2014/main" id="{BF425918-96B5-2E47-6B70-EA9ADB4CBBB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366824" y="5076973"/>
              <a:ext cx="1080000" cy="1080000"/>
            </a:xfrm>
            <a:prstGeom prst="rect">
              <a:avLst/>
            </a:prstGeom>
          </p:spPr>
        </p:pic>
      </p:grpSp>
      <p:grpSp>
        <p:nvGrpSpPr>
          <p:cNvPr id="6" name="Group 5">
            <a:extLst>
              <a:ext uri="{FF2B5EF4-FFF2-40B4-BE49-F238E27FC236}">
                <a16:creationId xmlns:a16="http://schemas.microsoft.com/office/drawing/2014/main" id="{99D1015F-DAA4-4BD0-89AD-6E946F5EE673}"/>
              </a:ext>
            </a:extLst>
          </p:cNvPr>
          <p:cNvGrpSpPr/>
          <p:nvPr/>
        </p:nvGrpSpPr>
        <p:grpSpPr>
          <a:xfrm>
            <a:off x="3761411" y="1739483"/>
            <a:ext cx="4993873" cy="728843"/>
            <a:chOff x="4009104" y="2354854"/>
            <a:chExt cx="4993873" cy="728843"/>
          </a:xfrm>
        </p:grpSpPr>
        <p:cxnSp>
          <p:nvCxnSpPr>
            <p:cNvPr id="9" name="Straight Connector 8">
              <a:extLst>
                <a:ext uri="{FF2B5EF4-FFF2-40B4-BE49-F238E27FC236}">
                  <a16:creationId xmlns:a16="http://schemas.microsoft.com/office/drawing/2014/main" id="{0FC43F5D-ABF0-3546-A7CE-B4D2D50B55FB}"/>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79914ACD-4D06-494A-07A4-F5ADE8793BE5}"/>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42AEA311-5618-1274-2A21-B63EBB0E08F5}"/>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12" name="Oval 11">
              <a:extLst>
                <a:ext uri="{FF2B5EF4-FFF2-40B4-BE49-F238E27FC236}">
                  <a16:creationId xmlns:a16="http://schemas.microsoft.com/office/drawing/2014/main" id="{2980A758-C914-B7A3-4BCD-1317C3AD3BB8}"/>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2A75A1D7-9C9A-EADA-98A4-19A55453E360}"/>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a:extLst>
                <a:ext uri="{FF2B5EF4-FFF2-40B4-BE49-F238E27FC236}">
                  <a16:creationId xmlns:a16="http://schemas.microsoft.com/office/drawing/2014/main" id="{2FF4C9D0-D5AD-C71E-CC82-3E7F9F40236C}"/>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05719E9B-908B-99D9-3203-FA2046EFEF16}"/>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3" name="Group 42">
            <a:extLst>
              <a:ext uri="{FF2B5EF4-FFF2-40B4-BE49-F238E27FC236}">
                <a16:creationId xmlns:a16="http://schemas.microsoft.com/office/drawing/2014/main" id="{0BD267D0-94DA-856F-4F81-BA07F67727A3}"/>
              </a:ext>
            </a:extLst>
          </p:cNvPr>
          <p:cNvGrpSpPr/>
          <p:nvPr/>
        </p:nvGrpSpPr>
        <p:grpSpPr>
          <a:xfrm>
            <a:off x="3761411" y="3648531"/>
            <a:ext cx="4993873" cy="728843"/>
            <a:chOff x="4009104" y="2354854"/>
            <a:chExt cx="4993873" cy="728843"/>
          </a:xfrm>
        </p:grpSpPr>
        <p:cxnSp>
          <p:nvCxnSpPr>
            <p:cNvPr id="51" name="Straight Connector 50">
              <a:extLst>
                <a:ext uri="{FF2B5EF4-FFF2-40B4-BE49-F238E27FC236}">
                  <a16:creationId xmlns:a16="http://schemas.microsoft.com/office/drawing/2014/main" id="{EF8E39D8-E832-1735-F732-94138716578B}"/>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B1B7D50C-B5A2-F066-2EC6-1B07FE075AF8}"/>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E6376BAE-FCAE-5CE9-5AEB-0CC5E6686919}"/>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54" name="Oval 53">
              <a:extLst>
                <a:ext uri="{FF2B5EF4-FFF2-40B4-BE49-F238E27FC236}">
                  <a16:creationId xmlns:a16="http://schemas.microsoft.com/office/drawing/2014/main" id="{5F44DB56-4DA7-51E0-BA5A-CD0F27B3649E}"/>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Oval 54">
              <a:extLst>
                <a:ext uri="{FF2B5EF4-FFF2-40B4-BE49-F238E27FC236}">
                  <a16:creationId xmlns:a16="http://schemas.microsoft.com/office/drawing/2014/main" id="{163D1117-D227-392A-F2AB-59F34DF45161}"/>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a:extLst>
                <a:ext uri="{FF2B5EF4-FFF2-40B4-BE49-F238E27FC236}">
                  <a16:creationId xmlns:a16="http://schemas.microsoft.com/office/drawing/2014/main" id="{016C4E93-B3D4-65E5-810C-0062DB420D57}"/>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a:extLst>
                <a:ext uri="{FF2B5EF4-FFF2-40B4-BE49-F238E27FC236}">
                  <a16:creationId xmlns:a16="http://schemas.microsoft.com/office/drawing/2014/main" id="{AC0E5946-61DE-3240-2F4F-F9897BF08B20}"/>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7" name="Down Arrow 56">
            <a:extLst>
              <a:ext uri="{FF2B5EF4-FFF2-40B4-BE49-F238E27FC236}">
                <a16:creationId xmlns:a16="http://schemas.microsoft.com/office/drawing/2014/main" id="{E8AA1F45-B787-2696-BB45-E1ED6B863D8C}"/>
              </a:ext>
            </a:extLst>
          </p:cNvPr>
          <p:cNvSpPr/>
          <p:nvPr/>
        </p:nvSpPr>
        <p:spPr>
          <a:xfrm>
            <a:off x="9126892" y="2515036"/>
            <a:ext cx="1130157" cy="1524426"/>
          </a:xfrm>
          <a:prstGeom prst="downArrow">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dirty="0">
                <a:solidFill>
                  <a:schemeClr val="bg1"/>
                </a:solidFill>
              </a:rPr>
              <a:t>Push</a:t>
            </a:r>
          </a:p>
        </p:txBody>
      </p:sp>
      <p:grpSp>
        <p:nvGrpSpPr>
          <p:cNvPr id="59" name="Group 58">
            <a:extLst>
              <a:ext uri="{FF2B5EF4-FFF2-40B4-BE49-F238E27FC236}">
                <a16:creationId xmlns:a16="http://schemas.microsoft.com/office/drawing/2014/main" id="{EC7D7687-C20B-411B-309A-7FFC6F714634}"/>
              </a:ext>
            </a:extLst>
          </p:cNvPr>
          <p:cNvGrpSpPr/>
          <p:nvPr/>
        </p:nvGrpSpPr>
        <p:grpSpPr>
          <a:xfrm>
            <a:off x="3761411" y="5557579"/>
            <a:ext cx="4993873" cy="728843"/>
            <a:chOff x="4009104" y="2354854"/>
            <a:chExt cx="4993873" cy="728843"/>
          </a:xfrm>
        </p:grpSpPr>
        <p:cxnSp>
          <p:nvCxnSpPr>
            <p:cNvPr id="67" name="Straight Connector 66">
              <a:extLst>
                <a:ext uri="{FF2B5EF4-FFF2-40B4-BE49-F238E27FC236}">
                  <a16:creationId xmlns:a16="http://schemas.microsoft.com/office/drawing/2014/main" id="{C35431E8-FBBF-A7A3-6C9E-7F3DB8D277D4}"/>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8A282F7E-1AA2-D6BC-DCC3-5F421217F860}"/>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F72C28F7-F19F-370B-F226-B0DE625BBA59}"/>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70" name="Oval 69">
              <a:extLst>
                <a:ext uri="{FF2B5EF4-FFF2-40B4-BE49-F238E27FC236}">
                  <a16:creationId xmlns:a16="http://schemas.microsoft.com/office/drawing/2014/main" id="{FC438DAB-4AB2-273C-576D-605CBF87AA5A}"/>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7348CA0C-B245-F262-D545-2D3E89701990}"/>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F90FF585-704A-E19E-0948-F8EF651F6B9A}"/>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593AA7D5-291E-0767-D641-700C9B7C90DF}"/>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2" name="Down Arrow 71">
            <a:extLst>
              <a:ext uri="{FF2B5EF4-FFF2-40B4-BE49-F238E27FC236}">
                <a16:creationId xmlns:a16="http://schemas.microsoft.com/office/drawing/2014/main" id="{121814E6-4108-988A-F1A9-60847F6D97A0}"/>
              </a:ext>
            </a:extLst>
          </p:cNvPr>
          <p:cNvSpPr/>
          <p:nvPr/>
        </p:nvSpPr>
        <p:spPr>
          <a:xfrm>
            <a:off x="9126893" y="4424659"/>
            <a:ext cx="1130157" cy="1524426"/>
          </a:xfrm>
          <a:prstGeom prst="downArrow">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dirty="0">
                <a:solidFill>
                  <a:schemeClr val="bg1"/>
                </a:solidFill>
              </a:rPr>
              <a:t>Clone</a:t>
            </a:r>
          </a:p>
        </p:txBody>
      </p:sp>
    </p:spTree>
    <p:extLst>
      <p:ext uri="{BB962C8B-B14F-4D97-AF65-F5344CB8AC3E}">
        <p14:creationId xmlns:p14="http://schemas.microsoft.com/office/powerpoint/2010/main" val="3947901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3" grpId="0" animBg="1"/>
      <p:bldP spid="57" grpId="0" animBg="1"/>
      <p:bldP spid="7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618506-C12B-2287-3C4B-15946E626264}"/>
              </a:ext>
            </a:extLst>
          </p:cNvPr>
          <p:cNvSpPr/>
          <p:nvPr/>
        </p:nvSpPr>
        <p:spPr>
          <a:xfrm>
            <a:off x="527337" y="1239904"/>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accent3">
              <a:lumMod val="20000"/>
              <a:lumOff val="80000"/>
              <a:alpha val="52914"/>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B7D4A16-9122-D5AD-3902-6321BA5F95F6}"/>
              </a:ext>
            </a:extLst>
          </p:cNvPr>
          <p:cNvSpPr>
            <a:spLocks noGrp="1"/>
          </p:cNvSpPr>
          <p:nvPr>
            <p:ph type="title"/>
          </p:nvPr>
        </p:nvSpPr>
        <p:spPr/>
        <p:txBody>
          <a:bodyPr/>
          <a:lstStyle/>
          <a:p>
            <a:r>
              <a:rPr lang="en-US" dirty="0"/>
              <a:t>Let’s walk through how this works</a:t>
            </a:r>
          </a:p>
        </p:txBody>
      </p:sp>
      <p:pic>
        <p:nvPicPr>
          <p:cNvPr id="4" name="Picture 3" descr="A picture containing black, darkness&#10;&#10;Description automatically generated">
            <a:extLst>
              <a:ext uri="{FF2B5EF4-FFF2-40B4-BE49-F238E27FC236}">
                <a16:creationId xmlns:a16="http://schemas.microsoft.com/office/drawing/2014/main" id="{7552C9BC-6A8D-CE10-7CAA-C2D94BC3D6BF}"/>
              </a:ext>
            </a:extLst>
          </p:cNvPr>
          <p:cNvPicPr>
            <a:picLocks noChangeAspect="1"/>
          </p:cNvPicPr>
          <p:nvPr/>
        </p:nvPicPr>
        <p:blipFill>
          <a:blip r:embed="rId3">
            <a:duotone>
              <a:schemeClr val="accent1">
                <a:shade val="45000"/>
                <a:satMod val="135000"/>
              </a:schemeClr>
              <a:prstClr val="white"/>
            </a:duotone>
          </a:blip>
          <a:stretch>
            <a:fillRect/>
          </a:stretch>
        </p:blipFill>
        <p:spPr>
          <a:xfrm>
            <a:off x="945324" y="1466209"/>
            <a:ext cx="1275390" cy="1275390"/>
          </a:xfrm>
          <a:prstGeom prst="rect">
            <a:avLst/>
          </a:prstGeom>
        </p:spPr>
      </p:pic>
      <p:sp>
        <p:nvSpPr>
          <p:cNvPr id="14" name="Rectangle 13">
            <a:extLst>
              <a:ext uri="{FF2B5EF4-FFF2-40B4-BE49-F238E27FC236}">
                <a16:creationId xmlns:a16="http://schemas.microsoft.com/office/drawing/2014/main" id="{03E7BBAB-55FB-0996-D4F5-0F6CF1415505}"/>
              </a:ext>
            </a:extLst>
          </p:cNvPr>
          <p:cNvSpPr/>
          <p:nvPr/>
        </p:nvSpPr>
        <p:spPr>
          <a:xfrm>
            <a:off x="527337" y="3148952"/>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accent1">
              <a:lumMod val="20000"/>
              <a:lumOff val="80000"/>
              <a:alpha val="50000"/>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3AF21F2-AA39-023B-A19C-8DEDACAF58BA}"/>
              </a:ext>
            </a:extLst>
          </p:cNvPr>
          <p:cNvSpPr/>
          <p:nvPr/>
        </p:nvSpPr>
        <p:spPr>
          <a:xfrm>
            <a:off x="527336" y="5058000"/>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accent6">
              <a:lumMod val="20000"/>
              <a:lumOff val="80000"/>
              <a:alpha val="50000"/>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descr="Programmer female outline">
            <a:extLst>
              <a:ext uri="{FF2B5EF4-FFF2-40B4-BE49-F238E27FC236}">
                <a16:creationId xmlns:a16="http://schemas.microsoft.com/office/drawing/2014/main" id="{C8D125EE-A9B8-DE35-24C6-2E5ED12AF9A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2219" y="5281200"/>
            <a:ext cx="1281600" cy="1281600"/>
          </a:xfrm>
          <a:prstGeom prst="rect">
            <a:avLst/>
          </a:prstGeom>
        </p:spPr>
      </p:pic>
      <p:grpSp>
        <p:nvGrpSpPr>
          <p:cNvPr id="25" name="Group 24">
            <a:extLst>
              <a:ext uri="{FF2B5EF4-FFF2-40B4-BE49-F238E27FC236}">
                <a16:creationId xmlns:a16="http://schemas.microsoft.com/office/drawing/2014/main" id="{3B9359CC-AD07-FFCA-6EA7-B72C098A8BF5}"/>
              </a:ext>
            </a:extLst>
          </p:cNvPr>
          <p:cNvGrpSpPr>
            <a:grpSpLocks noChangeAspect="1"/>
          </p:cNvGrpSpPr>
          <p:nvPr/>
        </p:nvGrpSpPr>
        <p:grpSpPr>
          <a:xfrm>
            <a:off x="719019" y="3265097"/>
            <a:ext cx="1728000" cy="1495711"/>
            <a:chOff x="5096920" y="3386757"/>
            <a:chExt cx="4321315" cy="3742090"/>
          </a:xfrm>
        </p:grpSpPr>
        <p:grpSp>
          <p:nvGrpSpPr>
            <p:cNvPr id="26" name="Group 25">
              <a:extLst>
                <a:ext uri="{FF2B5EF4-FFF2-40B4-BE49-F238E27FC236}">
                  <a16:creationId xmlns:a16="http://schemas.microsoft.com/office/drawing/2014/main" id="{4C7FD76A-D956-DBD6-D080-A289C208BBB1}"/>
                </a:ext>
              </a:extLst>
            </p:cNvPr>
            <p:cNvGrpSpPr/>
            <p:nvPr/>
          </p:nvGrpSpPr>
          <p:grpSpPr>
            <a:xfrm>
              <a:off x="5096920" y="3386757"/>
              <a:ext cx="4321315" cy="3742090"/>
              <a:chOff x="6637198" y="3500440"/>
              <a:chExt cx="3071935" cy="3042000"/>
            </a:xfrm>
          </p:grpSpPr>
          <p:pic>
            <p:nvPicPr>
              <p:cNvPr id="30" name="Graphic 29" descr="Cloud with solid fill">
                <a:extLst>
                  <a:ext uri="{FF2B5EF4-FFF2-40B4-BE49-F238E27FC236}">
                    <a16:creationId xmlns:a16="http://schemas.microsoft.com/office/drawing/2014/main" id="{3CD511FF-DEAA-6075-400C-06912677F28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67133" y="3500440"/>
                <a:ext cx="3042000" cy="3042000"/>
              </a:xfrm>
              <a:prstGeom prst="rect">
                <a:avLst/>
              </a:prstGeom>
            </p:spPr>
          </p:pic>
          <p:pic>
            <p:nvPicPr>
              <p:cNvPr id="31" name="Graphic 30" descr="Cloud outline">
                <a:extLst>
                  <a:ext uri="{FF2B5EF4-FFF2-40B4-BE49-F238E27FC236}">
                    <a16:creationId xmlns:a16="http://schemas.microsoft.com/office/drawing/2014/main" id="{72583E36-C879-E68E-1DFA-425657956C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37198" y="3500440"/>
                <a:ext cx="3042000" cy="3042000"/>
              </a:xfrm>
              <a:prstGeom prst="rect">
                <a:avLst/>
              </a:prstGeom>
            </p:spPr>
          </p:pic>
        </p:grpSp>
        <p:pic>
          <p:nvPicPr>
            <p:cNvPr id="27" name="Graphic 26">
              <a:extLst>
                <a:ext uri="{FF2B5EF4-FFF2-40B4-BE49-F238E27FC236}">
                  <a16:creationId xmlns:a16="http://schemas.microsoft.com/office/drawing/2014/main" id="{A195006E-2729-8AE5-FCB9-FC270C8A892A}"/>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40856" y="5186362"/>
              <a:ext cx="811406" cy="800291"/>
            </a:xfrm>
            <a:prstGeom prst="rect">
              <a:avLst/>
            </a:prstGeom>
          </p:spPr>
        </p:pic>
        <p:pic>
          <p:nvPicPr>
            <p:cNvPr id="28" name="Graphic 27">
              <a:extLst>
                <a:ext uri="{FF2B5EF4-FFF2-40B4-BE49-F238E27FC236}">
                  <a16:creationId xmlns:a16="http://schemas.microsoft.com/office/drawing/2014/main" id="{260CD8F4-0805-CAF0-2798-D5A3DDBCBCA0}"/>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275966" y="4320973"/>
              <a:ext cx="1512000" cy="1512000"/>
            </a:xfrm>
            <a:prstGeom prst="rect">
              <a:avLst/>
            </a:prstGeom>
          </p:spPr>
        </p:pic>
        <p:pic>
          <p:nvPicPr>
            <p:cNvPr id="29" name="Graphic 28">
              <a:extLst>
                <a:ext uri="{FF2B5EF4-FFF2-40B4-BE49-F238E27FC236}">
                  <a16:creationId xmlns:a16="http://schemas.microsoft.com/office/drawing/2014/main" id="{BF425918-96B5-2E47-6B70-EA9ADB4CBBB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366824" y="5076973"/>
              <a:ext cx="1080000" cy="1080000"/>
            </a:xfrm>
            <a:prstGeom prst="rect">
              <a:avLst/>
            </a:prstGeom>
          </p:spPr>
        </p:pic>
      </p:grpSp>
      <p:grpSp>
        <p:nvGrpSpPr>
          <p:cNvPr id="6" name="Group 5">
            <a:extLst>
              <a:ext uri="{FF2B5EF4-FFF2-40B4-BE49-F238E27FC236}">
                <a16:creationId xmlns:a16="http://schemas.microsoft.com/office/drawing/2014/main" id="{99D1015F-DAA4-4BD0-89AD-6E946F5EE673}"/>
              </a:ext>
            </a:extLst>
          </p:cNvPr>
          <p:cNvGrpSpPr/>
          <p:nvPr/>
        </p:nvGrpSpPr>
        <p:grpSpPr>
          <a:xfrm>
            <a:off x="3766382" y="2164985"/>
            <a:ext cx="4993873" cy="728843"/>
            <a:chOff x="4009104" y="2354854"/>
            <a:chExt cx="4993873" cy="728843"/>
          </a:xfrm>
        </p:grpSpPr>
        <p:cxnSp>
          <p:nvCxnSpPr>
            <p:cNvPr id="9" name="Straight Connector 8">
              <a:extLst>
                <a:ext uri="{FF2B5EF4-FFF2-40B4-BE49-F238E27FC236}">
                  <a16:creationId xmlns:a16="http://schemas.microsoft.com/office/drawing/2014/main" id="{0FC43F5D-ABF0-3546-A7CE-B4D2D50B55FB}"/>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79914ACD-4D06-494A-07A4-F5ADE8793BE5}"/>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42AEA311-5618-1274-2A21-B63EBB0E08F5}"/>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12" name="Oval 11">
              <a:extLst>
                <a:ext uri="{FF2B5EF4-FFF2-40B4-BE49-F238E27FC236}">
                  <a16:creationId xmlns:a16="http://schemas.microsoft.com/office/drawing/2014/main" id="{2980A758-C914-B7A3-4BCD-1317C3AD3BB8}"/>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2A75A1D7-9C9A-EADA-98A4-19A55453E360}"/>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05719E9B-908B-99D9-3203-FA2046EFEF16}"/>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2FF4C9D0-D5AD-C71E-CC82-3E7F9F40236C}"/>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5" name="Group 34">
            <a:extLst>
              <a:ext uri="{FF2B5EF4-FFF2-40B4-BE49-F238E27FC236}">
                <a16:creationId xmlns:a16="http://schemas.microsoft.com/office/drawing/2014/main" id="{5A32FDCA-01F7-7952-FA7B-6304AF99FFC6}"/>
              </a:ext>
            </a:extLst>
          </p:cNvPr>
          <p:cNvGrpSpPr/>
          <p:nvPr/>
        </p:nvGrpSpPr>
        <p:grpSpPr>
          <a:xfrm>
            <a:off x="5858781" y="1313980"/>
            <a:ext cx="2150521" cy="728843"/>
            <a:chOff x="4841641" y="1010639"/>
            <a:chExt cx="2150521" cy="728843"/>
          </a:xfrm>
        </p:grpSpPr>
        <p:cxnSp>
          <p:nvCxnSpPr>
            <p:cNvPr id="33" name="Straight Connector 32">
              <a:extLst>
                <a:ext uri="{FF2B5EF4-FFF2-40B4-BE49-F238E27FC236}">
                  <a16:creationId xmlns:a16="http://schemas.microsoft.com/office/drawing/2014/main" id="{BC7D0276-532C-B3FB-88A4-8F2B0CB55FC1}"/>
                </a:ext>
              </a:extLst>
            </p:cNvPr>
            <p:cNvCxnSpPr>
              <a:cxnSpLocks/>
            </p:cNvCxnSpPr>
            <p:nvPr/>
          </p:nvCxnSpPr>
          <p:spPr>
            <a:xfrm flipH="1">
              <a:off x="5552479" y="1375060"/>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34" name="Oval 33">
              <a:extLst>
                <a:ext uri="{FF2B5EF4-FFF2-40B4-BE49-F238E27FC236}">
                  <a16:creationId xmlns:a16="http://schemas.microsoft.com/office/drawing/2014/main" id="{46FAAF1F-06A0-A80A-9567-EAC0F96EEE63}"/>
                </a:ext>
              </a:extLst>
            </p:cNvPr>
            <p:cNvSpPr/>
            <p:nvPr/>
          </p:nvSpPr>
          <p:spPr>
            <a:xfrm flipV="1">
              <a:off x="4841641" y="1010639"/>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977EF267-C672-E575-2951-511FF49C80E9}"/>
                </a:ext>
              </a:extLst>
            </p:cNvPr>
            <p:cNvSpPr/>
            <p:nvPr/>
          </p:nvSpPr>
          <p:spPr>
            <a:xfrm>
              <a:off x="6263319" y="1010639"/>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38" name="Straight Connector 37">
            <a:extLst>
              <a:ext uri="{FF2B5EF4-FFF2-40B4-BE49-F238E27FC236}">
                <a16:creationId xmlns:a16="http://schemas.microsoft.com/office/drawing/2014/main" id="{AF859A48-4532-6919-B061-CC2131ABCFEE}"/>
              </a:ext>
            </a:extLst>
          </p:cNvPr>
          <p:cNvCxnSpPr>
            <a:cxnSpLocks/>
            <a:stCxn id="34" idx="1"/>
            <a:endCxn id="12" idx="7"/>
          </p:cNvCxnSpPr>
          <p:nvPr/>
        </p:nvCxnSpPr>
        <p:spPr>
          <a:xfrm flipH="1">
            <a:off x="5810164" y="1936086"/>
            <a:ext cx="155354" cy="335636"/>
          </a:xfrm>
          <a:prstGeom prst="line">
            <a:avLst/>
          </a:prstGeom>
          <a:ln w="28575"/>
        </p:spPr>
        <p:style>
          <a:lnRef idx="1">
            <a:schemeClr val="dk1"/>
          </a:lnRef>
          <a:fillRef idx="0">
            <a:schemeClr val="dk1"/>
          </a:fillRef>
          <a:effectRef idx="0">
            <a:schemeClr val="dk1"/>
          </a:effectRef>
          <a:fontRef idx="minor">
            <a:schemeClr val="tx1"/>
          </a:fontRef>
        </p:style>
      </p:cxnSp>
      <p:grpSp>
        <p:nvGrpSpPr>
          <p:cNvPr id="43" name="Group 42">
            <a:extLst>
              <a:ext uri="{FF2B5EF4-FFF2-40B4-BE49-F238E27FC236}">
                <a16:creationId xmlns:a16="http://schemas.microsoft.com/office/drawing/2014/main" id="{0BD267D0-94DA-856F-4F81-BA07F67727A3}"/>
              </a:ext>
            </a:extLst>
          </p:cNvPr>
          <p:cNvGrpSpPr/>
          <p:nvPr/>
        </p:nvGrpSpPr>
        <p:grpSpPr>
          <a:xfrm>
            <a:off x="3766382" y="4074033"/>
            <a:ext cx="4993873" cy="728843"/>
            <a:chOff x="4009104" y="2354854"/>
            <a:chExt cx="4993873" cy="728843"/>
          </a:xfrm>
        </p:grpSpPr>
        <p:cxnSp>
          <p:nvCxnSpPr>
            <p:cNvPr id="51" name="Straight Connector 50">
              <a:extLst>
                <a:ext uri="{FF2B5EF4-FFF2-40B4-BE49-F238E27FC236}">
                  <a16:creationId xmlns:a16="http://schemas.microsoft.com/office/drawing/2014/main" id="{EF8E39D8-E832-1735-F732-94138716578B}"/>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B1B7D50C-B5A2-F066-2EC6-1B07FE075AF8}"/>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E6376BAE-FCAE-5CE9-5AEB-0CC5E6686919}"/>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54" name="Oval 53">
              <a:extLst>
                <a:ext uri="{FF2B5EF4-FFF2-40B4-BE49-F238E27FC236}">
                  <a16:creationId xmlns:a16="http://schemas.microsoft.com/office/drawing/2014/main" id="{5F44DB56-4DA7-51E0-BA5A-CD0F27B3649E}"/>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163D1117-D227-392A-F2AB-59F34DF45161}"/>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a:extLst>
                <a:ext uri="{FF2B5EF4-FFF2-40B4-BE49-F238E27FC236}">
                  <a16:creationId xmlns:a16="http://schemas.microsoft.com/office/drawing/2014/main" id="{AC0E5946-61DE-3240-2F4F-F9897BF08B20}"/>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a:extLst>
                <a:ext uri="{FF2B5EF4-FFF2-40B4-BE49-F238E27FC236}">
                  <a16:creationId xmlns:a16="http://schemas.microsoft.com/office/drawing/2014/main" id="{016C4E93-B3D4-65E5-810C-0062DB420D57}"/>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4" name="Group 43">
            <a:extLst>
              <a:ext uri="{FF2B5EF4-FFF2-40B4-BE49-F238E27FC236}">
                <a16:creationId xmlns:a16="http://schemas.microsoft.com/office/drawing/2014/main" id="{31ADE9C4-E0EC-C9D6-EB37-2314F49C7261}"/>
              </a:ext>
            </a:extLst>
          </p:cNvPr>
          <p:cNvGrpSpPr/>
          <p:nvPr/>
        </p:nvGrpSpPr>
        <p:grpSpPr>
          <a:xfrm>
            <a:off x="5858781" y="3223028"/>
            <a:ext cx="2150521" cy="728843"/>
            <a:chOff x="4841641" y="1010639"/>
            <a:chExt cx="2150521" cy="728843"/>
          </a:xfrm>
        </p:grpSpPr>
        <p:cxnSp>
          <p:nvCxnSpPr>
            <p:cNvPr id="47" name="Straight Connector 46">
              <a:extLst>
                <a:ext uri="{FF2B5EF4-FFF2-40B4-BE49-F238E27FC236}">
                  <a16:creationId xmlns:a16="http://schemas.microsoft.com/office/drawing/2014/main" id="{5250125C-3044-B99C-5670-581AB8CAD2BB}"/>
                </a:ext>
              </a:extLst>
            </p:cNvPr>
            <p:cNvCxnSpPr>
              <a:cxnSpLocks/>
            </p:cNvCxnSpPr>
            <p:nvPr/>
          </p:nvCxnSpPr>
          <p:spPr>
            <a:xfrm flipH="1">
              <a:off x="5552479" y="1375060"/>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46" name="Oval 45">
              <a:extLst>
                <a:ext uri="{FF2B5EF4-FFF2-40B4-BE49-F238E27FC236}">
                  <a16:creationId xmlns:a16="http://schemas.microsoft.com/office/drawing/2014/main" id="{6FF16125-D68A-6825-B321-1EDE59463894}"/>
                </a:ext>
              </a:extLst>
            </p:cNvPr>
            <p:cNvSpPr/>
            <p:nvPr/>
          </p:nvSpPr>
          <p:spPr>
            <a:xfrm>
              <a:off x="6263319" y="1010639"/>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a:extLst>
                <a:ext uri="{FF2B5EF4-FFF2-40B4-BE49-F238E27FC236}">
                  <a16:creationId xmlns:a16="http://schemas.microsoft.com/office/drawing/2014/main" id="{9AEFAD16-C84A-5DE4-82CF-1C56CADC75B0}"/>
                </a:ext>
              </a:extLst>
            </p:cNvPr>
            <p:cNvSpPr/>
            <p:nvPr/>
          </p:nvSpPr>
          <p:spPr>
            <a:xfrm flipV="1">
              <a:off x="4841641" y="1010639"/>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45" name="Straight Connector 44">
            <a:extLst>
              <a:ext uri="{FF2B5EF4-FFF2-40B4-BE49-F238E27FC236}">
                <a16:creationId xmlns:a16="http://schemas.microsoft.com/office/drawing/2014/main" id="{044C9A72-5BBA-08C3-4136-19122101D1C8}"/>
              </a:ext>
            </a:extLst>
          </p:cNvPr>
          <p:cNvCxnSpPr>
            <a:cxnSpLocks/>
            <a:stCxn id="48" idx="1"/>
            <a:endCxn id="54" idx="7"/>
          </p:cNvCxnSpPr>
          <p:nvPr/>
        </p:nvCxnSpPr>
        <p:spPr>
          <a:xfrm flipH="1">
            <a:off x="5810164" y="3845134"/>
            <a:ext cx="155354" cy="335636"/>
          </a:xfrm>
          <a:prstGeom prst="line">
            <a:avLst/>
          </a:prstGeom>
          <a:ln w="28575"/>
        </p:spPr>
        <p:style>
          <a:lnRef idx="1">
            <a:schemeClr val="dk1"/>
          </a:lnRef>
          <a:fillRef idx="0">
            <a:schemeClr val="dk1"/>
          </a:fillRef>
          <a:effectRef idx="0">
            <a:schemeClr val="dk1"/>
          </a:effectRef>
          <a:fontRef idx="minor">
            <a:schemeClr val="tx1"/>
          </a:fontRef>
        </p:style>
      </p:cxnSp>
      <p:sp>
        <p:nvSpPr>
          <p:cNvPr id="57" name="Down Arrow 56">
            <a:extLst>
              <a:ext uri="{FF2B5EF4-FFF2-40B4-BE49-F238E27FC236}">
                <a16:creationId xmlns:a16="http://schemas.microsoft.com/office/drawing/2014/main" id="{E8AA1F45-B787-2696-BB45-E1ED6B863D8C}"/>
              </a:ext>
            </a:extLst>
          </p:cNvPr>
          <p:cNvSpPr/>
          <p:nvPr/>
        </p:nvSpPr>
        <p:spPr>
          <a:xfrm flipV="1">
            <a:off x="9407351" y="4180770"/>
            <a:ext cx="1130157" cy="1524426"/>
          </a:xfrm>
          <a:prstGeom prst="downArrow">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dirty="0">
                <a:solidFill>
                  <a:schemeClr val="bg1"/>
                </a:solidFill>
              </a:rPr>
              <a:t>Push</a:t>
            </a:r>
          </a:p>
        </p:txBody>
      </p:sp>
      <p:grpSp>
        <p:nvGrpSpPr>
          <p:cNvPr id="59" name="Group 58">
            <a:extLst>
              <a:ext uri="{FF2B5EF4-FFF2-40B4-BE49-F238E27FC236}">
                <a16:creationId xmlns:a16="http://schemas.microsoft.com/office/drawing/2014/main" id="{EC7D7687-C20B-411B-309A-7FFC6F714634}"/>
              </a:ext>
            </a:extLst>
          </p:cNvPr>
          <p:cNvGrpSpPr/>
          <p:nvPr/>
        </p:nvGrpSpPr>
        <p:grpSpPr>
          <a:xfrm>
            <a:off x="3766382" y="5969286"/>
            <a:ext cx="4993873" cy="728843"/>
            <a:chOff x="4009104" y="2354854"/>
            <a:chExt cx="4993873" cy="728843"/>
          </a:xfrm>
        </p:grpSpPr>
        <p:cxnSp>
          <p:nvCxnSpPr>
            <p:cNvPr id="67" name="Straight Connector 66">
              <a:extLst>
                <a:ext uri="{FF2B5EF4-FFF2-40B4-BE49-F238E27FC236}">
                  <a16:creationId xmlns:a16="http://schemas.microsoft.com/office/drawing/2014/main" id="{C35431E8-FBBF-A7A3-6C9E-7F3DB8D277D4}"/>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8A282F7E-1AA2-D6BC-DCC3-5F421217F860}"/>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F72C28F7-F19F-370B-F226-B0DE625BBA59}"/>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70" name="Oval 69">
              <a:extLst>
                <a:ext uri="{FF2B5EF4-FFF2-40B4-BE49-F238E27FC236}">
                  <a16:creationId xmlns:a16="http://schemas.microsoft.com/office/drawing/2014/main" id="{FC438DAB-4AB2-273C-576D-605CBF87AA5A}"/>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7348CA0C-B245-F262-D545-2D3E89701990}"/>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593AA7D5-291E-0767-D641-700C9B7C90DF}"/>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F90FF585-704A-E19E-0948-F8EF651F6B9A}"/>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a:extLst>
              <a:ext uri="{FF2B5EF4-FFF2-40B4-BE49-F238E27FC236}">
                <a16:creationId xmlns:a16="http://schemas.microsoft.com/office/drawing/2014/main" id="{10D89BC7-CE58-8D24-BBF7-781AB94A80CA}"/>
              </a:ext>
            </a:extLst>
          </p:cNvPr>
          <p:cNvGrpSpPr/>
          <p:nvPr/>
        </p:nvGrpSpPr>
        <p:grpSpPr>
          <a:xfrm>
            <a:off x="5858781" y="5118281"/>
            <a:ext cx="2150521" cy="728843"/>
            <a:chOff x="4841641" y="1010639"/>
            <a:chExt cx="2150521" cy="728843"/>
          </a:xfrm>
        </p:grpSpPr>
        <p:cxnSp>
          <p:nvCxnSpPr>
            <p:cNvPr id="63" name="Straight Connector 62">
              <a:extLst>
                <a:ext uri="{FF2B5EF4-FFF2-40B4-BE49-F238E27FC236}">
                  <a16:creationId xmlns:a16="http://schemas.microsoft.com/office/drawing/2014/main" id="{C20F6CA4-C1F5-91C4-61B4-53499EC422B2}"/>
                </a:ext>
              </a:extLst>
            </p:cNvPr>
            <p:cNvCxnSpPr>
              <a:cxnSpLocks/>
            </p:cNvCxnSpPr>
            <p:nvPr/>
          </p:nvCxnSpPr>
          <p:spPr>
            <a:xfrm flipH="1">
              <a:off x="5552479" y="1375060"/>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62" name="Oval 61">
              <a:extLst>
                <a:ext uri="{FF2B5EF4-FFF2-40B4-BE49-F238E27FC236}">
                  <a16:creationId xmlns:a16="http://schemas.microsoft.com/office/drawing/2014/main" id="{E5B97E18-73C6-A8F5-9620-8D95CC9FDA1E}"/>
                </a:ext>
              </a:extLst>
            </p:cNvPr>
            <p:cNvSpPr/>
            <p:nvPr/>
          </p:nvSpPr>
          <p:spPr>
            <a:xfrm>
              <a:off x="6263319" y="1010639"/>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Oval 63">
              <a:extLst>
                <a:ext uri="{FF2B5EF4-FFF2-40B4-BE49-F238E27FC236}">
                  <a16:creationId xmlns:a16="http://schemas.microsoft.com/office/drawing/2014/main" id="{AE6984DE-E97A-59FA-3602-8E9F4B70CC74}"/>
                </a:ext>
              </a:extLst>
            </p:cNvPr>
            <p:cNvSpPr/>
            <p:nvPr/>
          </p:nvSpPr>
          <p:spPr>
            <a:xfrm flipV="1">
              <a:off x="4841641" y="1010639"/>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61" name="Straight Connector 60">
            <a:extLst>
              <a:ext uri="{FF2B5EF4-FFF2-40B4-BE49-F238E27FC236}">
                <a16:creationId xmlns:a16="http://schemas.microsoft.com/office/drawing/2014/main" id="{31FEBD59-6762-A455-727A-E50421A7EE0F}"/>
              </a:ext>
            </a:extLst>
          </p:cNvPr>
          <p:cNvCxnSpPr>
            <a:cxnSpLocks/>
            <a:stCxn id="64" idx="1"/>
            <a:endCxn id="70" idx="7"/>
          </p:cNvCxnSpPr>
          <p:nvPr/>
        </p:nvCxnSpPr>
        <p:spPr>
          <a:xfrm flipH="1">
            <a:off x="5810164" y="5740387"/>
            <a:ext cx="155354" cy="335636"/>
          </a:xfrm>
          <a:prstGeom prst="line">
            <a:avLst/>
          </a:prstGeom>
          <a:ln w="28575"/>
        </p:spPr>
        <p:style>
          <a:lnRef idx="1">
            <a:schemeClr val="dk1"/>
          </a:lnRef>
          <a:fillRef idx="0">
            <a:schemeClr val="dk1"/>
          </a:fillRef>
          <a:effectRef idx="0">
            <a:schemeClr val="dk1"/>
          </a:effectRef>
          <a:fontRef idx="minor">
            <a:schemeClr val="tx1"/>
          </a:fontRef>
        </p:style>
      </p:cxnSp>
      <p:sp>
        <p:nvSpPr>
          <p:cNvPr id="72" name="Down Arrow 71">
            <a:extLst>
              <a:ext uri="{FF2B5EF4-FFF2-40B4-BE49-F238E27FC236}">
                <a16:creationId xmlns:a16="http://schemas.microsoft.com/office/drawing/2014/main" id="{121814E6-4108-988A-F1A9-60847F6D97A0}"/>
              </a:ext>
            </a:extLst>
          </p:cNvPr>
          <p:cNvSpPr/>
          <p:nvPr/>
        </p:nvSpPr>
        <p:spPr>
          <a:xfrm flipV="1">
            <a:off x="9388320" y="2114077"/>
            <a:ext cx="1130157" cy="1524426"/>
          </a:xfrm>
          <a:prstGeom prst="downArrow">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dirty="0">
                <a:solidFill>
                  <a:schemeClr val="bg1"/>
                </a:solidFill>
              </a:rPr>
              <a:t>Pull</a:t>
            </a:r>
          </a:p>
        </p:txBody>
      </p:sp>
    </p:spTree>
    <p:extLst>
      <p:ext uri="{BB962C8B-B14F-4D97-AF65-F5344CB8AC3E}">
        <p14:creationId xmlns:p14="http://schemas.microsoft.com/office/powerpoint/2010/main" val="2275183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7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93567-EEEF-18BB-22F1-6C0F84BA247F}"/>
              </a:ext>
            </a:extLst>
          </p:cNvPr>
          <p:cNvSpPr>
            <a:spLocks noGrp="1"/>
          </p:cNvSpPr>
          <p:nvPr>
            <p:ph type="title"/>
          </p:nvPr>
        </p:nvSpPr>
        <p:spPr/>
        <p:txBody>
          <a:bodyPr/>
          <a:lstStyle/>
          <a:p>
            <a:r>
              <a:rPr lang="en-US" dirty="0"/>
              <a:t>Exercise 4: Remotes </a:t>
            </a:r>
          </a:p>
        </p:txBody>
      </p:sp>
      <p:sp>
        <p:nvSpPr>
          <p:cNvPr id="3" name="Content Placeholder 2">
            <a:extLst>
              <a:ext uri="{FF2B5EF4-FFF2-40B4-BE49-F238E27FC236}">
                <a16:creationId xmlns:a16="http://schemas.microsoft.com/office/drawing/2014/main" id="{EDC0499F-2EE5-B048-FA07-B4422148459A}"/>
              </a:ext>
            </a:extLst>
          </p:cNvPr>
          <p:cNvSpPr>
            <a:spLocks noGrp="1"/>
          </p:cNvSpPr>
          <p:nvPr>
            <p:ph idx="1"/>
          </p:nvPr>
        </p:nvSpPr>
        <p:spPr/>
        <p:txBody>
          <a:bodyPr>
            <a:normAutofit/>
          </a:bodyPr>
          <a:lstStyle/>
          <a:p>
            <a:r>
              <a:rPr lang="en-US" sz="2400" dirty="0"/>
              <a:t>Go to the App and work through Q1 and Q2 in the remotes section </a:t>
            </a:r>
          </a:p>
          <a:p>
            <a:r>
              <a:rPr lang="en-US" sz="2400" dirty="0"/>
              <a:t>We will be available for help if you need it, just ask your questions in the chat box </a:t>
            </a:r>
          </a:p>
          <a:p>
            <a:r>
              <a:rPr lang="en-US" sz="2400" dirty="0"/>
              <a:t>We will resume in 10 min</a:t>
            </a:r>
          </a:p>
        </p:txBody>
      </p:sp>
    </p:spTree>
    <p:extLst>
      <p:ext uri="{BB962C8B-B14F-4D97-AF65-F5344CB8AC3E}">
        <p14:creationId xmlns:p14="http://schemas.microsoft.com/office/powerpoint/2010/main" val="28163413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5F8ECD9-5E9B-68CC-7D12-EA872A6F1025}"/>
              </a:ext>
            </a:extLst>
          </p:cNvPr>
          <p:cNvSpPr/>
          <p:nvPr/>
        </p:nvSpPr>
        <p:spPr>
          <a:xfrm>
            <a:off x="4994036" y="4228141"/>
            <a:ext cx="4142036" cy="629801"/>
          </a:xfrm>
          <a:prstGeom prst="rect">
            <a:avLst/>
          </a:prstGeom>
          <a:solidFill>
            <a:schemeClr val="accent1">
              <a:alpha val="2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3E7B938-00C5-E5EA-C272-56F365C0CCDD}"/>
              </a:ext>
            </a:extLst>
          </p:cNvPr>
          <p:cNvSpPr>
            <a:spLocks noGrp="1"/>
          </p:cNvSpPr>
          <p:nvPr>
            <p:ph type="title"/>
          </p:nvPr>
        </p:nvSpPr>
        <p:spPr/>
        <p:txBody>
          <a:bodyPr/>
          <a:lstStyle/>
          <a:p>
            <a:r>
              <a:rPr lang="en-US" dirty="0"/>
              <a:t>What we did in the exercise </a:t>
            </a:r>
          </a:p>
        </p:txBody>
      </p:sp>
      <p:sp>
        <p:nvSpPr>
          <p:cNvPr id="3" name="Content Placeholder 2">
            <a:extLst>
              <a:ext uri="{FF2B5EF4-FFF2-40B4-BE49-F238E27FC236}">
                <a16:creationId xmlns:a16="http://schemas.microsoft.com/office/drawing/2014/main" id="{09B6A362-5DD5-6EFA-E47C-7D50A358643B}"/>
              </a:ext>
            </a:extLst>
          </p:cNvPr>
          <p:cNvSpPr>
            <a:spLocks noGrp="1"/>
          </p:cNvSpPr>
          <p:nvPr>
            <p:ph idx="1"/>
          </p:nvPr>
        </p:nvSpPr>
        <p:spPr/>
        <p:txBody>
          <a:bodyPr>
            <a:normAutofit/>
          </a:bodyPr>
          <a:lstStyle/>
          <a:p>
            <a:r>
              <a:rPr lang="en-US" sz="2400" dirty="0"/>
              <a:t>Located different branches </a:t>
            </a:r>
          </a:p>
          <a:p>
            <a:r>
              <a:rPr lang="en-US" sz="2400" dirty="0"/>
              <a:t>Cloned a repo, created a branch, and pushed changes back to the remote</a:t>
            </a:r>
          </a:p>
        </p:txBody>
      </p:sp>
      <p:sp>
        <p:nvSpPr>
          <p:cNvPr id="14" name="Rectangle 13">
            <a:extLst>
              <a:ext uri="{FF2B5EF4-FFF2-40B4-BE49-F238E27FC236}">
                <a16:creationId xmlns:a16="http://schemas.microsoft.com/office/drawing/2014/main" id="{95962633-6D11-833E-9974-27D1B65EB35F}"/>
              </a:ext>
            </a:extLst>
          </p:cNvPr>
          <p:cNvSpPr/>
          <p:nvPr/>
        </p:nvSpPr>
        <p:spPr>
          <a:xfrm>
            <a:off x="4737008" y="5029113"/>
            <a:ext cx="5534187" cy="1347840"/>
          </a:xfrm>
          <a:custGeom>
            <a:avLst/>
            <a:gdLst>
              <a:gd name="connsiteX0" fmla="*/ 0 w 5534187"/>
              <a:gd name="connsiteY0" fmla="*/ 0 h 1347840"/>
              <a:gd name="connsiteX1" fmla="*/ 581090 w 5534187"/>
              <a:gd name="connsiteY1" fmla="*/ 0 h 1347840"/>
              <a:gd name="connsiteX2" fmla="*/ 1217521 w 5534187"/>
              <a:gd name="connsiteY2" fmla="*/ 0 h 1347840"/>
              <a:gd name="connsiteX3" fmla="*/ 1798611 w 5534187"/>
              <a:gd name="connsiteY3" fmla="*/ 0 h 1347840"/>
              <a:gd name="connsiteX4" fmla="*/ 2545726 w 5534187"/>
              <a:gd name="connsiteY4" fmla="*/ 0 h 1347840"/>
              <a:gd name="connsiteX5" fmla="*/ 3237499 w 5534187"/>
              <a:gd name="connsiteY5" fmla="*/ 0 h 1347840"/>
              <a:gd name="connsiteX6" fmla="*/ 3929273 w 5534187"/>
              <a:gd name="connsiteY6" fmla="*/ 0 h 1347840"/>
              <a:gd name="connsiteX7" fmla="*/ 4731730 w 5534187"/>
              <a:gd name="connsiteY7" fmla="*/ 0 h 1347840"/>
              <a:gd name="connsiteX8" fmla="*/ 5534187 w 5534187"/>
              <a:gd name="connsiteY8" fmla="*/ 0 h 1347840"/>
              <a:gd name="connsiteX9" fmla="*/ 5534187 w 5534187"/>
              <a:gd name="connsiteY9" fmla="*/ 633485 h 1347840"/>
              <a:gd name="connsiteX10" fmla="*/ 5534187 w 5534187"/>
              <a:gd name="connsiteY10" fmla="*/ 1347840 h 1347840"/>
              <a:gd name="connsiteX11" fmla="*/ 5008439 w 5534187"/>
              <a:gd name="connsiteY11" fmla="*/ 1347840 h 1347840"/>
              <a:gd name="connsiteX12" fmla="*/ 4427350 w 5534187"/>
              <a:gd name="connsiteY12" fmla="*/ 1347840 h 1347840"/>
              <a:gd name="connsiteX13" fmla="*/ 3680234 w 5534187"/>
              <a:gd name="connsiteY13" fmla="*/ 1347840 h 1347840"/>
              <a:gd name="connsiteX14" fmla="*/ 2877777 w 5534187"/>
              <a:gd name="connsiteY14" fmla="*/ 1347840 h 1347840"/>
              <a:gd name="connsiteX15" fmla="*/ 2241346 w 5534187"/>
              <a:gd name="connsiteY15" fmla="*/ 1347840 h 1347840"/>
              <a:gd name="connsiteX16" fmla="*/ 1438889 w 5534187"/>
              <a:gd name="connsiteY16" fmla="*/ 1347840 h 1347840"/>
              <a:gd name="connsiteX17" fmla="*/ 857799 w 5534187"/>
              <a:gd name="connsiteY17" fmla="*/ 1347840 h 1347840"/>
              <a:gd name="connsiteX18" fmla="*/ 0 w 5534187"/>
              <a:gd name="connsiteY18" fmla="*/ 1347840 h 1347840"/>
              <a:gd name="connsiteX19" fmla="*/ 0 w 5534187"/>
              <a:gd name="connsiteY19" fmla="*/ 714355 h 1347840"/>
              <a:gd name="connsiteX20" fmla="*/ 0 w 5534187"/>
              <a:gd name="connsiteY20" fmla="*/ 0 h 1347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34187" h="1347840" fill="none" extrusionOk="0">
                <a:moveTo>
                  <a:pt x="0" y="0"/>
                </a:moveTo>
                <a:cubicBezTo>
                  <a:pt x="156031" y="-18325"/>
                  <a:pt x="331105" y="-11938"/>
                  <a:pt x="581090" y="0"/>
                </a:cubicBezTo>
                <a:cubicBezTo>
                  <a:pt x="831075" y="11938"/>
                  <a:pt x="967891" y="-2732"/>
                  <a:pt x="1217521" y="0"/>
                </a:cubicBezTo>
                <a:cubicBezTo>
                  <a:pt x="1467151" y="2732"/>
                  <a:pt x="1529435" y="-17577"/>
                  <a:pt x="1798611" y="0"/>
                </a:cubicBezTo>
                <a:cubicBezTo>
                  <a:pt x="2067787" y="17577"/>
                  <a:pt x="2343245" y="-3149"/>
                  <a:pt x="2545726" y="0"/>
                </a:cubicBezTo>
                <a:cubicBezTo>
                  <a:pt x="2748208" y="3149"/>
                  <a:pt x="2936919" y="-4305"/>
                  <a:pt x="3237499" y="0"/>
                </a:cubicBezTo>
                <a:cubicBezTo>
                  <a:pt x="3538079" y="4305"/>
                  <a:pt x="3735795" y="-33349"/>
                  <a:pt x="3929273" y="0"/>
                </a:cubicBezTo>
                <a:cubicBezTo>
                  <a:pt x="4122751" y="33349"/>
                  <a:pt x="4524150" y="-36069"/>
                  <a:pt x="4731730" y="0"/>
                </a:cubicBezTo>
                <a:cubicBezTo>
                  <a:pt x="4939310" y="36069"/>
                  <a:pt x="5309790" y="-28449"/>
                  <a:pt x="5534187" y="0"/>
                </a:cubicBezTo>
                <a:cubicBezTo>
                  <a:pt x="5503324" y="261327"/>
                  <a:pt x="5534266" y="406161"/>
                  <a:pt x="5534187" y="633485"/>
                </a:cubicBezTo>
                <a:cubicBezTo>
                  <a:pt x="5534108" y="860810"/>
                  <a:pt x="5512842" y="1184868"/>
                  <a:pt x="5534187" y="1347840"/>
                </a:cubicBezTo>
                <a:cubicBezTo>
                  <a:pt x="5339193" y="1372510"/>
                  <a:pt x="5232412" y="1372100"/>
                  <a:pt x="5008439" y="1347840"/>
                </a:cubicBezTo>
                <a:cubicBezTo>
                  <a:pt x="4784466" y="1323580"/>
                  <a:pt x="4591455" y="1346060"/>
                  <a:pt x="4427350" y="1347840"/>
                </a:cubicBezTo>
                <a:cubicBezTo>
                  <a:pt x="4263245" y="1349620"/>
                  <a:pt x="3835871" y="1321604"/>
                  <a:pt x="3680234" y="1347840"/>
                </a:cubicBezTo>
                <a:cubicBezTo>
                  <a:pt x="3524597" y="1374076"/>
                  <a:pt x="3142464" y="1308255"/>
                  <a:pt x="2877777" y="1347840"/>
                </a:cubicBezTo>
                <a:cubicBezTo>
                  <a:pt x="2613090" y="1387425"/>
                  <a:pt x="2377824" y="1337352"/>
                  <a:pt x="2241346" y="1347840"/>
                </a:cubicBezTo>
                <a:cubicBezTo>
                  <a:pt x="2104868" y="1358328"/>
                  <a:pt x="1721552" y="1310461"/>
                  <a:pt x="1438889" y="1347840"/>
                </a:cubicBezTo>
                <a:cubicBezTo>
                  <a:pt x="1156226" y="1385219"/>
                  <a:pt x="1148194" y="1327668"/>
                  <a:pt x="857799" y="1347840"/>
                </a:cubicBezTo>
                <a:cubicBezTo>
                  <a:pt x="567404" y="1368013"/>
                  <a:pt x="341543" y="1390543"/>
                  <a:pt x="0" y="1347840"/>
                </a:cubicBezTo>
                <a:cubicBezTo>
                  <a:pt x="-4977" y="1057714"/>
                  <a:pt x="-7427" y="918551"/>
                  <a:pt x="0" y="714355"/>
                </a:cubicBezTo>
                <a:cubicBezTo>
                  <a:pt x="7427" y="510159"/>
                  <a:pt x="-33137" y="278589"/>
                  <a:pt x="0" y="0"/>
                </a:cubicBezTo>
                <a:close/>
              </a:path>
              <a:path w="5534187" h="1347840" stroke="0" extrusionOk="0">
                <a:moveTo>
                  <a:pt x="0" y="0"/>
                </a:moveTo>
                <a:cubicBezTo>
                  <a:pt x="144460" y="23970"/>
                  <a:pt x="336462" y="676"/>
                  <a:pt x="636432" y="0"/>
                </a:cubicBezTo>
                <a:cubicBezTo>
                  <a:pt x="936402" y="-676"/>
                  <a:pt x="1047394" y="24794"/>
                  <a:pt x="1162179" y="0"/>
                </a:cubicBezTo>
                <a:cubicBezTo>
                  <a:pt x="1276964" y="-24794"/>
                  <a:pt x="1665968" y="-34532"/>
                  <a:pt x="1964636" y="0"/>
                </a:cubicBezTo>
                <a:cubicBezTo>
                  <a:pt x="2263304" y="34532"/>
                  <a:pt x="2358672" y="29577"/>
                  <a:pt x="2601068" y="0"/>
                </a:cubicBezTo>
                <a:cubicBezTo>
                  <a:pt x="2843464" y="-29577"/>
                  <a:pt x="3010629" y="22844"/>
                  <a:pt x="3237499" y="0"/>
                </a:cubicBezTo>
                <a:cubicBezTo>
                  <a:pt x="3464369" y="-22844"/>
                  <a:pt x="3844339" y="-12208"/>
                  <a:pt x="4039957" y="0"/>
                </a:cubicBezTo>
                <a:cubicBezTo>
                  <a:pt x="4235575" y="12208"/>
                  <a:pt x="4401549" y="4590"/>
                  <a:pt x="4621046" y="0"/>
                </a:cubicBezTo>
                <a:cubicBezTo>
                  <a:pt x="4840543" y="-4590"/>
                  <a:pt x="5235804" y="-23579"/>
                  <a:pt x="5534187" y="0"/>
                </a:cubicBezTo>
                <a:cubicBezTo>
                  <a:pt x="5501142" y="273511"/>
                  <a:pt x="5517434" y="543869"/>
                  <a:pt x="5534187" y="700877"/>
                </a:cubicBezTo>
                <a:cubicBezTo>
                  <a:pt x="5550940" y="857885"/>
                  <a:pt x="5512450" y="1083351"/>
                  <a:pt x="5534187" y="1347840"/>
                </a:cubicBezTo>
                <a:cubicBezTo>
                  <a:pt x="5282083" y="1369797"/>
                  <a:pt x="5166703" y="1317246"/>
                  <a:pt x="4842414" y="1347840"/>
                </a:cubicBezTo>
                <a:cubicBezTo>
                  <a:pt x="4518125" y="1378434"/>
                  <a:pt x="4382549" y="1325407"/>
                  <a:pt x="4205982" y="1347840"/>
                </a:cubicBezTo>
                <a:cubicBezTo>
                  <a:pt x="4029415" y="1370273"/>
                  <a:pt x="3763040" y="1310662"/>
                  <a:pt x="3403525" y="1347840"/>
                </a:cubicBezTo>
                <a:cubicBezTo>
                  <a:pt x="3044010" y="1385018"/>
                  <a:pt x="2819816" y="1379024"/>
                  <a:pt x="2601068" y="1347840"/>
                </a:cubicBezTo>
                <a:cubicBezTo>
                  <a:pt x="2382320" y="1316656"/>
                  <a:pt x="2233406" y="1343244"/>
                  <a:pt x="2019978" y="1347840"/>
                </a:cubicBezTo>
                <a:cubicBezTo>
                  <a:pt x="1806550" y="1352437"/>
                  <a:pt x="1551262" y="1355502"/>
                  <a:pt x="1328205" y="1347840"/>
                </a:cubicBezTo>
                <a:cubicBezTo>
                  <a:pt x="1105148" y="1340178"/>
                  <a:pt x="353810" y="1327224"/>
                  <a:pt x="0" y="1347840"/>
                </a:cubicBezTo>
                <a:cubicBezTo>
                  <a:pt x="-1134" y="1181541"/>
                  <a:pt x="-27360" y="1000482"/>
                  <a:pt x="0" y="673920"/>
                </a:cubicBezTo>
                <a:cubicBezTo>
                  <a:pt x="27360" y="347358"/>
                  <a:pt x="-24767" y="267238"/>
                  <a:pt x="0" y="0"/>
                </a:cubicBezTo>
                <a:close/>
              </a:path>
            </a:pathLst>
          </a:custGeom>
          <a:solidFill>
            <a:schemeClr val="accent6">
              <a:lumMod val="20000"/>
              <a:lumOff val="80000"/>
              <a:alpha val="50000"/>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 name="Group 41">
            <a:extLst>
              <a:ext uri="{FF2B5EF4-FFF2-40B4-BE49-F238E27FC236}">
                <a16:creationId xmlns:a16="http://schemas.microsoft.com/office/drawing/2014/main" id="{A68D7C34-09CB-0AA7-43EC-605F7BCD1694}"/>
              </a:ext>
            </a:extLst>
          </p:cNvPr>
          <p:cNvGrpSpPr/>
          <p:nvPr/>
        </p:nvGrpSpPr>
        <p:grpSpPr>
          <a:xfrm>
            <a:off x="5071252" y="5739916"/>
            <a:ext cx="3895223" cy="568498"/>
            <a:chOff x="4009104" y="2354854"/>
            <a:chExt cx="4993873" cy="728843"/>
          </a:xfrm>
        </p:grpSpPr>
        <p:cxnSp>
          <p:nvCxnSpPr>
            <p:cNvPr id="45" name="Straight Connector 44">
              <a:extLst>
                <a:ext uri="{FF2B5EF4-FFF2-40B4-BE49-F238E27FC236}">
                  <a16:creationId xmlns:a16="http://schemas.microsoft.com/office/drawing/2014/main" id="{780BA7CD-ECF0-5987-469B-AA08FCCBE157}"/>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0B69A4AC-7F5C-FB60-3024-2AE01B9DF404}"/>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FCC026C-B7A4-BDF9-4A20-61B8A8E5E0FE}"/>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48" name="Oval 47">
              <a:extLst>
                <a:ext uri="{FF2B5EF4-FFF2-40B4-BE49-F238E27FC236}">
                  <a16:creationId xmlns:a16="http://schemas.microsoft.com/office/drawing/2014/main" id="{44CBAA17-8057-0EF7-D8B5-5DEC45D9D055}"/>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F47A13D2-0263-660F-3C23-7C8266D15673}"/>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42">
              <a:extLst>
                <a:ext uri="{FF2B5EF4-FFF2-40B4-BE49-F238E27FC236}">
                  <a16:creationId xmlns:a16="http://schemas.microsoft.com/office/drawing/2014/main" id="{13AFF209-C455-2B4A-9BFD-DEAA12C9F5C9}"/>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a:extLst>
                <a:ext uri="{FF2B5EF4-FFF2-40B4-BE49-F238E27FC236}">
                  <a16:creationId xmlns:a16="http://schemas.microsoft.com/office/drawing/2014/main" id="{1F7BA19D-2830-7423-C48B-D5D1C8E3B861}"/>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4" name="Straight Connector 53">
            <a:extLst>
              <a:ext uri="{FF2B5EF4-FFF2-40B4-BE49-F238E27FC236}">
                <a16:creationId xmlns:a16="http://schemas.microsoft.com/office/drawing/2014/main" id="{5C89AE50-CA0F-C50D-4B1A-A3CB2C71B632}"/>
              </a:ext>
            </a:extLst>
          </p:cNvPr>
          <p:cNvCxnSpPr>
            <a:cxnSpLocks/>
          </p:cNvCxnSpPr>
          <p:nvPr/>
        </p:nvCxnSpPr>
        <p:spPr>
          <a:xfrm flipH="1">
            <a:off x="6665402" y="5561375"/>
            <a:ext cx="121176" cy="261796"/>
          </a:xfrm>
          <a:prstGeom prst="line">
            <a:avLst/>
          </a:prstGeom>
          <a:ln w="28575"/>
        </p:spPr>
        <p:style>
          <a:lnRef idx="1">
            <a:schemeClr val="dk1"/>
          </a:lnRef>
          <a:fillRef idx="0">
            <a:schemeClr val="dk1"/>
          </a:fillRef>
          <a:effectRef idx="0">
            <a:schemeClr val="dk1"/>
          </a:effectRef>
          <a:fontRef idx="minor">
            <a:schemeClr val="tx1"/>
          </a:fontRef>
        </p:style>
      </p:cxnSp>
      <p:sp>
        <p:nvSpPr>
          <p:cNvPr id="5" name="Rechteck 4">
            <a:extLst>
              <a:ext uri="{FF2B5EF4-FFF2-40B4-BE49-F238E27FC236}">
                <a16:creationId xmlns:a16="http://schemas.microsoft.com/office/drawing/2014/main" id="{AD57C999-E308-70C1-CC10-A964AD736A14}"/>
              </a:ext>
            </a:extLst>
          </p:cNvPr>
          <p:cNvSpPr/>
          <p:nvPr/>
        </p:nvSpPr>
        <p:spPr>
          <a:xfrm>
            <a:off x="6536966" y="3598380"/>
            <a:ext cx="948805" cy="629801"/>
          </a:xfrm>
          <a:prstGeom prst="rect">
            <a:avLst/>
          </a:prstGeom>
          <a:solidFill>
            <a:srgbClr val="DEFEDB">
              <a:alpha val="27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E221860-DA46-3CFD-BC1B-B3BF5AD284E5}"/>
              </a:ext>
            </a:extLst>
          </p:cNvPr>
          <p:cNvSpPr/>
          <p:nvPr/>
        </p:nvSpPr>
        <p:spPr>
          <a:xfrm>
            <a:off x="4737008" y="3585988"/>
            <a:ext cx="5534187" cy="1347840"/>
          </a:xfrm>
          <a:custGeom>
            <a:avLst/>
            <a:gdLst>
              <a:gd name="connsiteX0" fmla="*/ 0 w 5534187"/>
              <a:gd name="connsiteY0" fmla="*/ 0 h 1347840"/>
              <a:gd name="connsiteX1" fmla="*/ 581090 w 5534187"/>
              <a:gd name="connsiteY1" fmla="*/ 0 h 1347840"/>
              <a:gd name="connsiteX2" fmla="*/ 1217521 w 5534187"/>
              <a:gd name="connsiteY2" fmla="*/ 0 h 1347840"/>
              <a:gd name="connsiteX3" fmla="*/ 1798611 w 5534187"/>
              <a:gd name="connsiteY3" fmla="*/ 0 h 1347840"/>
              <a:gd name="connsiteX4" fmla="*/ 2545726 w 5534187"/>
              <a:gd name="connsiteY4" fmla="*/ 0 h 1347840"/>
              <a:gd name="connsiteX5" fmla="*/ 3237499 w 5534187"/>
              <a:gd name="connsiteY5" fmla="*/ 0 h 1347840"/>
              <a:gd name="connsiteX6" fmla="*/ 3929273 w 5534187"/>
              <a:gd name="connsiteY6" fmla="*/ 0 h 1347840"/>
              <a:gd name="connsiteX7" fmla="*/ 4731730 w 5534187"/>
              <a:gd name="connsiteY7" fmla="*/ 0 h 1347840"/>
              <a:gd name="connsiteX8" fmla="*/ 5534187 w 5534187"/>
              <a:gd name="connsiteY8" fmla="*/ 0 h 1347840"/>
              <a:gd name="connsiteX9" fmla="*/ 5534187 w 5534187"/>
              <a:gd name="connsiteY9" fmla="*/ 633485 h 1347840"/>
              <a:gd name="connsiteX10" fmla="*/ 5534187 w 5534187"/>
              <a:gd name="connsiteY10" fmla="*/ 1347840 h 1347840"/>
              <a:gd name="connsiteX11" fmla="*/ 5008439 w 5534187"/>
              <a:gd name="connsiteY11" fmla="*/ 1347840 h 1347840"/>
              <a:gd name="connsiteX12" fmla="*/ 4427350 w 5534187"/>
              <a:gd name="connsiteY12" fmla="*/ 1347840 h 1347840"/>
              <a:gd name="connsiteX13" fmla="*/ 3680234 w 5534187"/>
              <a:gd name="connsiteY13" fmla="*/ 1347840 h 1347840"/>
              <a:gd name="connsiteX14" fmla="*/ 2877777 w 5534187"/>
              <a:gd name="connsiteY14" fmla="*/ 1347840 h 1347840"/>
              <a:gd name="connsiteX15" fmla="*/ 2241346 w 5534187"/>
              <a:gd name="connsiteY15" fmla="*/ 1347840 h 1347840"/>
              <a:gd name="connsiteX16" fmla="*/ 1438889 w 5534187"/>
              <a:gd name="connsiteY16" fmla="*/ 1347840 h 1347840"/>
              <a:gd name="connsiteX17" fmla="*/ 857799 w 5534187"/>
              <a:gd name="connsiteY17" fmla="*/ 1347840 h 1347840"/>
              <a:gd name="connsiteX18" fmla="*/ 0 w 5534187"/>
              <a:gd name="connsiteY18" fmla="*/ 1347840 h 1347840"/>
              <a:gd name="connsiteX19" fmla="*/ 0 w 5534187"/>
              <a:gd name="connsiteY19" fmla="*/ 714355 h 1347840"/>
              <a:gd name="connsiteX20" fmla="*/ 0 w 5534187"/>
              <a:gd name="connsiteY20" fmla="*/ 0 h 1347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34187" h="1347840" fill="none" extrusionOk="0">
                <a:moveTo>
                  <a:pt x="0" y="0"/>
                </a:moveTo>
                <a:cubicBezTo>
                  <a:pt x="156031" y="-18325"/>
                  <a:pt x="331105" y="-11938"/>
                  <a:pt x="581090" y="0"/>
                </a:cubicBezTo>
                <a:cubicBezTo>
                  <a:pt x="831075" y="11938"/>
                  <a:pt x="967891" y="-2732"/>
                  <a:pt x="1217521" y="0"/>
                </a:cubicBezTo>
                <a:cubicBezTo>
                  <a:pt x="1467151" y="2732"/>
                  <a:pt x="1529435" y="-17577"/>
                  <a:pt x="1798611" y="0"/>
                </a:cubicBezTo>
                <a:cubicBezTo>
                  <a:pt x="2067787" y="17577"/>
                  <a:pt x="2343245" y="-3149"/>
                  <a:pt x="2545726" y="0"/>
                </a:cubicBezTo>
                <a:cubicBezTo>
                  <a:pt x="2748208" y="3149"/>
                  <a:pt x="2936919" y="-4305"/>
                  <a:pt x="3237499" y="0"/>
                </a:cubicBezTo>
                <a:cubicBezTo>
                  <a:pt x="3538079" y="4305"/>
                  <a:pt x="3735795" y="-33349"/>
                  <a:pt x="3929273" y="0"/>
                </a:cubicBezTo>
                <a:cubicBezTo>
                  <a:pt x="4122751" y="33349"/>
                  <a:pt x="4524150" y="-36069"/>
                  <a:pt x="4731730" y="0"/>
                </a:cubicBezTo>
                <a:cubicBezTo>
                  <a:pt x="4939310" y="36069"/>
                  <a:pt x="5309790" y="-28449"/>
                  <a:pt x="5534187" y="0"/>
                </a:cubicBezTo>
                <a:cubicBezTo>
                  <a:pt x="5503324" y="261327"/>
                  <a:pt x="5534266" y="406161"/>
                  <a:pt x="5534187" y="633485"/>
                </a:cubicBezTo>
                <a:cubicBezTo>
                  <a:pt x="5534108" y="860810"/>
                  <a:pt x="5512842" y="1184868"/>
                  <a:pt x="5534187" y="1347840"/>
                </a:cubicBezTo>
                <a:cubicBezTo>
                  <a:pt x="5339193" y="1372510"/>
                  <a:pt x="5232412" y="1372100"/>
                  <a:pt x="5008439" y="1347840"/>
                </a:cubicBezTo>
                <a:cubicBezTo>
                  <a:pt x="4784466" y="1323580"/>
                  <a:pt x="4591455" y="1346060"/>
                  <a:pt x="4427350" y="1347840"/>
                </a:cubicBezTo>
                <a:cubicBezTo>
                  <a:pt x="4263245" y="1349620"/>
                  <a:pt x="3835871" y="1321604"/>
                  <a:pt x="3680234" y="1347840"/>
                </a:cubicBezTo>
                <a:cubicBezTo>
                  <a:pt x="3524597" y="1374076"/>
                  <a:pt x="3142464" y="1308255"/>
                  <a:pt x="2877777" y="1347840"/>
                </a:cubicBezTo>
                <a:cubicBezTo>
                  <a:pt x="2613090" y="1387425"/>
                  <a:pt x="2377824" y="1337352"/>
                  <a:pt x="2241346" y="1347840"/>
                </a:cubicBezTo>
                <a:cubicBezTo>
                  <a:pt x="2104868" y="1358328"/>
                  <a:pt x="1721552" y="1310461"/>
                  <a:pt x="1438889" y="1347840"/>
                </a:cubicBezTo>
                <a:cubicBezTo>
                  <a:pt x="1156226" y="1385219"/>
                  <a:pt x="1148194" y="1327668"/>
                  <a:pt x="857799" y="1347840"/>
                </a:cubicBezTo>
                <a:cubicBezTo>
                  <a:pt x="567404" y="1368013"/>
                  <a:pt x="341543" y="1390543"/>
                  <a:pt x="0" y="1347840"/>
                </a:cubicBezTo>
                <a:cubicBezTo>
                  <a:pt x="-4977" y="1057714"/>
                  <a:pt x="-7427" y="918551"/>
                  <a:pt x="0" y="714355"/>
                </a:cubicBezTo>
                <a:cubicBezTo>
                  <a:pt x="7427" y="510159"/>
                  <a:pt x="-33137" y="278589"/>
                  <a:pt x="0" y="0"/>
                </a:cubicBezTo>
                <a:close/>
              </a:path>
              <a:path w="5534187" h="1347840" stroke="0" extrusionOk="0">
                <a:moveTo>
                  <a:pt x="0" y="0"/>
                </a:moveTo>
                <a:cubicBezTo>
                  <a:pt x="144460" y="23970"/>
                  <a:pt x="336462" y="676"/>
                  <a:pt x="636432" y="0"/>
                </a:cubicBezTo>
                <a:cubicBezTo>
                  <a:pt x="936402" y="-676"/>
                  <a:pt x="1047394" y="24794"/>
                  <a:pt x="1162179" y="0"/>
                </a:cubicBezTo>
                <a:cubicBezTo>
                  <a:pt x="1276964" y="-24794"/>
                  <a:pt x="1665968" y="-34532"/>
                  <a:pt x="1964636" y="0"/>
                </a:cubicBezTo>
                <a:cubicBezTo>
                  <a:pt x="2263304" y="34532"/>
                  <a:pt x="2358672" y="29577"/>
                  <a:pt x="2601068" y="0"/>
                </a:cubicBezTo>
                <a:cubicBezTo>
                  <a:pt x="2843464" y="-29577"/>
                  <a:pt x="3010629" y="22844"/>
                  <a:pt x="3237499" y="0"/>
                </a:cubicBezTo>
                <a:cubicBezTo>
                  <a:pt x="3464369" y="-22844"/>
                  <a:pt x="3844339" y="-12208"/>
                  <a:pt x="4039957" y="0"/>
                </a:cubicBezTo>
                <a:cubicBezTo>
                  <a:pt x="4235575" y="12208"/>
                  <a:pt x="4401549" y="4590"/>
                  <a:pt x="4621046" y="0"/>
                </a:cubicBezTo>
                <a:cubicBezTo>
                  <a:pt x="4840543" y="-4590"/>
                  <a:pt x="5235804" y="-23579"/>
                  <a:pt x="5534187" y="0"/>
                </a:cubicBezTo>
                <a:cubicBezTo>
                  <a:pt x="5501142" y="273511"/>
                  <a:pt x="5517434" y="543869"/>
                  <a:pt x="5534187" y="700877"/>
                </a:cubicBezTo>
                <a:cubicBezTo>
                  <a:pt x="5550940" y="857885"/>
                  <a:pt x="5512450" y="1083351"/>
                  <a:pt x="5534187" y="1347840"/>
                </a:cubicBezTo>
                <a:cubicBezTo>
                  <a:pt x="5282083" y="1369797"/>
                  <a:pt x="5166703" y="1317246"/>
                  <a:pt x="4842414" y="1347840"/>
                </a:cubicBezTo>
                <a:cubicBezTo>
                  <a:pt x="4518125" y="1378434"/>
                  <a:pt x="4382549" y="1325407"/>
                  <a:pt x="4205982" y="1347840"/>
                </a:cubicBezTo>
                <a:cubicBezTo>
                  <a:pt x="4029415" y="1370273"/>
                  <a:pt x="3763040" y="1310662"/>
                  <a:pt x="3403525" y="1347840"/>
                </a:cubicBezTo>
                <a:cubicBezTo>
                  <a:pt x="3044010" y="1385018"/>
                  <a:pt x="2819816" y="1379024"/>
                  <a:pt x="2601068" y="1347840"/>
                </a:cubicBezTo>
                <a:cubicBezTo>
                  <a:pt x="2382320" y="1316656"/>
                  <a:pt x="2233406" y="1343244"/>
                  <a:pt x="2019978" y="1347840"/>
                </a:cubicBezTo>
                <a:cubicBezTo>
                  <a:pt x="1806550" y="1352437"/>
                  <a:pt x="1551262" y="1355502"/>
                  <a:pt x="1328205" y="1347840"/>
                </a:cubicBezTo>
                <a:cubicBezTo>
                  <a:pt x="1105148" y="1340178"/>
                  <a:pt x="353810" y="1327224"/>
                  <a:pt x="0" y="1347840"/>
                </a:cubicBezTo>
                <a:cubicBezTo>
                  <a:pt x="-1134" y="1181541"/>
                  <a:pt x="-27360" y="1000482"/>
                  <a:pt x="0" y="673920"/>
                </a:cubicBezTo>
                <a:cubicBezTo>
                  <a:pt x="27360" y="347358"/>
                  <a:pt x="-24767" y="267238"/>
                  <a:pt x="0" y="0"/>
                </a:cubicBezTo>
                <a:close/>
              </a:path>
            </a:pathLst>
          </a:custGeom>
          <a:solidFill>
            <a:schemeClr val="accent1">
              <a:lumMod val="20000"/>
              <a:lumOff val="80000"/>
              <a:alpha val="50000"/>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 name="Group 28">
            <a:extLst>
              <a:ext uri="{FF2B5EF4-FFF2-40B4-BE49-F238E27FC236}">
                <a16:creationId xmlns:a16="http://schemas.microsoft.com/office/drawing/2014/main" id="{7C391096-CD1C-4DA4-35B9-2EADAC6E077D}"/>
              </a:ext>
            </a:extLst>
          </p:cNvPr>
          <p:cNvGrpSpPr/>
          <p:nvPr/>
        </p:nvGrpSpPr>
        <p:grpSpPr>
          <a:xfrm>
            <a:off x="5071252" y="4261619"/>
            <a:ext cx="3895223" cy="568498"/>
            <a:chOff x="4009104" y="2354854"/>
            <a:chExt cx="4993873" cy="728843"/>
          </a:xfrm>
        </p:grpSpPr>
        <p:cxnSp>
          <p:nvCxnSpPr>
            <p:cNvPr id="32" name="Straight Connector 31">
              <a:extLst>
                <a:ext uri="{FF2B5EF4-FFF2-40B4-BE49-F238E27FC236}">
                  <a16:creationId xmlns:a16="http://schemas.microsoft.com/office/drawing/2014/main" id="{09C6311E-9EB2-068E-ACF9-27FE69679BE0}"/>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8E913C50-DAC9-F58E-CB5A-364D173162CF}"/>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604B1036-4D8F-0D32-036C-8502F2588287}"/>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35" name="Oval 34">
              <a:extLst>
                <a:ext uri="{FF2B5EF4-FFF2-40B4-BE49-F238E27FC236}">
                  <a16:creationId xmlns:a16="http://schemas.microsoft.com/office/drawing/2014/main" id="{D01943AB-3F1C-59D4-8498-F65911989C1A}"/>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8211D314-2F1C-2CE1-2B66-54372F3A10AA}"/>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8C26D3A3-E9BB-AA95-4208-83B9FA18904A}"/>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247FCA1A-C1F0-0672-7381-9711FCE8776A}"/>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55" name="Straight Connector 54">
            <a:extLst>
              <a:ext uri="{FF2B5EF4-FFF2-40B4-BE49-F238E27FC236}">
                <a16:creationId xmlns:a16="http://schemas.microsoft.com/office/drawing/2014/main" id="{624F6CAB-000F-50FA-91FB-AA6B6176339B}"/>
              </a:ext>
            </a:extLst>
          </p:cNvPr>
          <p:cNvCxnSpPr>
            <a:cxnSpLocks/>
          </p:cNvCxnSpPr>
          <p:nvPr/>
        </p:nvCxnSpPr>
        <p:spPr>
          <a:xfrm flipH="1">
            <a:off x="6612880" y="4029777"/>
            <a:ext cx="121176" cy="261796"/>
          </a:xfrm>
          <a:prstGeom prst="line">
            <a:avLst/>
          </a:prstGeom>
          <a:ln w="28575"/>
        </p:spPr>
        <p:style>
          <a:lnRef idx="1">
            <a:schemeClr val="dk1"/>
          </a:lnRef>
          <a:fillRef idx="0">
            <a:schemeClr val="dk1"/>
          </a:fillRef>
          <a:effectRef idx="0">
            <a:schemeClr val="dk1"/>
          </a:effectRef>
          <a:fontRef idx="minor">
            <a:schemeClr val="tx1"/>
          </a:fontRef>
        </p:style>
      </p:cxnSp>
      <p:grpSp>
        <p:nvGrpSpPr>
          <p:cNvPr id="18" name="Group 17">
            <a:extLst>
              <a:ext uri="{FF2B5EF4-FFF2-40B4-BE49-F238E27FC236}">
                <a16:creationId xmlns:a16="http://schemas.microsoft.com/office/drawing/2014/main" id="{0573EF47-7EF7-D67A-395E-E293D82F960D}"/>
              </a:ext>
            </a:extLst>
          </p:cNvPr>
          <p:cNvGrpSpPr>
            <a:grpSpLocks noChangeAspect="1"/>
          </p:cNvGrpSpPr>
          <p:nvPr/>
        </p:nvGrpSpPr>
        <p:grpSpPr>
          <a:xfrm>
            <a:off x="4829087" y="3478248"/>
            <a:ext cx="958143" cy="829343"/>
            <a:chOff x="5096920" y="3386757"/>
            <a:chExt cx="4321315" cy="3742090"/>
          </a:xfrm>
        </p:grpSpPr>
        <p:grpSp>
          <p:nvGrpSpPr>
            <p:cNvPr id="19" name="Group 18">
              <a:extLst>
                <a:ext uri="{FF2B5EF4-FFF2-40B4-BE49-F238E27FC236}">
                  <a16:creationId xmlns:a16="http://schemas.microsoft.com/office/drawing/2014/main" id="{D398B48E-315B-4A78-500D-720C5796D107}"/>
                </a:ext>
              </a:extLst>
            </p:cNvPr>
            <p:cNvGrpSpPr/>
            <p:nvPr/>
          </p:nvGrpSpPr>
          <p:grpSpPr>
            <a:xfrm>
              <a:off x="5096920" y="3386757"/>
              <a:ext cx="4321315" cy="3742090"/>
              <a:chOff x="6637198" y="3500440"/>
              <a:chExt cx="3071935" cy="3042000"/>
            </a:xfrm>
          </p:grpSpPr>
          <p:pic>
            <p:nvPicPr>
              <p:cNvPr id="27" name="Graphic 26" descr="Cloud with solid fill">
                <a:extLst>
                  <a:ext uri="{FF2B5EF4-FFF2-40B4-BE49-F238E27FC236}">
                    <a16:creationId xmlns:a16="http://schemas.microsoft.com/office/drawing/2014/main" id="{18B3585F-4382-BC31-EC05-E56F04E01D4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67133" y="3500440"/>
                <a:ext cx="3042000" cy="3042000"/>
              </a:xfrm>
              <a:prstGeom prst="rect">
                <a:avLst/>
              </a:prstGeom>
            </p:spPr>
          </p:pic>
          <p:pic>
            <p:nvPicPr>
              <p:cNvPr id="28" name="Graphic 27" descr="Cloud outline">
                <a:extLst>
                  <a:ext uri="{FF2B5EF4-FFF2-40B4-BE49-F238E27FC236}">
                    <a16:creationId xmlns:a16="http://schemas.microsoft.com/office/drawing/2014/main" id="{2273E97A-0F71-24D4-252F-5C3CB3B22208}"/>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37198" y="3500440"/>
                <a:ext cx="3042000" cy="3042000"/>
              </a:xfrm>
              <a:prstGeom prst="rect">
                <a:avLst/>
              </a:prstGeom>
            </p:spPr>
          </p:pic>
        </p:grpSp>
        <p:pic>
          <p:nvPicPr>
            <p:cNvPr id="20" name="Graphic 19">
              <a:extLst>
                <a:ext uri="{FF2B5EF4-FFF2-40B4-BE49-F238E27FC236}">
                  <a16:creationId xmlns:a16="http://schemas.microsoft.com/office/drawing/2014/main" id="{E29B9C4E-CC76-3F94-D9FB-F9554DE57C90}"/>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40856" y="5186362"/>
              <a:ext cx="811406" cy="800291"/>
            </a:xfrm>
            <a:prstGeom prst="rect">
              <a:avLst/>
            </a:prstGeom>
          </p:spPr>
        </p:pic>
        <p:pic>
          <p:nvPicPr>
            <p:cNvPr id="22" name="Graphic 21">
              <a:extLst>
                <a:ext uri="{FF2B5EF4-FFF2-40B4-BE49-F238E27FC236}">
                  <a16:creationId xmlns:a16="http://schemas.microsoft.com/office/drawing/2014/main" id="{2BD2A55C-00DF-E37D-6FED-D99A946E3B68}"/>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75966" y="4320973"/>
              <a:ext cx="1512000" cy="1512000"/>
            </a:xfrm>
            <a:prstGeom prst="rect">
              <a:avLst/>
            </a:prstGeom>
          </p:spPr>
        </p:pic>
        <p:pic>
          <p:nvPicPr>
            <p:cNvPr id="26" name="Graphic 25">
              <a:extLst>
                <a:ext uri="{FF2B5EF4-FFF2-40B4-BE49-F238E27FC236}">
                  <a16:creationId xmlns:a16="http://schemas.microsoft.com/office/drawing/2014/main" id="{E5EF6C58-BBB5-EB31-070E-56309F6321DB}"/>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366824" y="5076973"/>
              <a:ext cx="1080000" cy="1080000"/>
            </a:xfrm>
            <a:prstGeom prst="rect">
              <a:avLst/>
            </a:prstGeom>
          </p:spPr>
        </p:pic>
      </p:grpSp>
      <p:sp>
        <p:nvSpPr>
          <p:cNvPr id="7" name="Down Arrow 56">
            <a:extLst>
              <a:ext uri="{FF2B5EF4-FFF2-40B4-BE49-F238E27FC236}">
                <a16:creationId xmlns:a16="http://schemas.microsoft.com/office/drawing/2014/main" id="{DC601EEE-BE8C-0AA1-11DC-239AF47DCB77}"/>
              </a:ext>
            </a:extLst>
          </p:cNvPr>
          <p:cNvSpPr/>
          <p:nvPr/>
        </p:nvSpPr>
        <p:spPr>
          <a:xfrm rot="10800000" flipV="1">
            <a:off x="9127391" y="4399428"/>
            <a:ext cx="881523" cy="1189052"/>
          </a:xfrm>
          <a:prstGeom prst="downArrow">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dirty="0">
                <a:solidFill>
                  <a:schemeClr val="bg1"/>
                </a:solidFill>
              </a:rPr>
              <a:t>Pull</a:t>
            </a:r>
          </a:p>
        </p:txBody>
      </p:sp>
      <p:sp>
        <p:nvSpPr>
          <p:cNvPr id="41" name="Down Arrow 56">
            <a:extLst>
              <a:ext uri="{FF2B5EF4-FFF2-40B4-BE49-F238E27FC236}">
                <a16:creationId xmlns:a16="http://schemas.microsoft.com/office/drawing/2014/main" id="{8F3FF629-B9DF-9783-B2A3-7D74F6EC7166}"/>
              </a:ext>
            </a:extLst>
          </p:cNvPr>
          <p:cNvSpPr/>
          <p:nvPr/>
        </p:nvSpPr>
        <p:spPr>
          <a:xfrm flipV="1">
            <a:off x="9127390" y="4327021"/>
            <a:ext cx="881523" cy="1189052"/>
          </a:xfrm>
          <a:prstGeom prst="downArrow">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dirty="0">
                <a:solidFill>
                  <a:schemeClr val="bg1"/>
                </a:solidFill>
              </a:rPr>
              <a:t>Push</a:t>
            </a:r>
          </a:p>
        </p:txBody>
      </p:sp>
      <p:sp>
        <p:nvSpPr>
          <p:cNvPr id="53" name="Oval 52">
            <a:extLst>
              <a:ext uri="{FF2B5EF4-FFF2-40B4-BE49-F238E27FC236}">
                <a16:creationId xmlns:a16="http://schemas.microsoft.com/office/drawing/2014/main" id="{07C782CD-2711-F32B-04FC-A7C328DC99F1}"/>
              </a:ext>
            </a:extLst>
          </p:cNvPr>
          <p:cNvSpPr/>
          <p:nvPr/>
        </p:nvSpPr>
        <p:spPr>
          <a:xfrm flipV="1">
            <a:off x="6703324" y="5076133"/>
            <a:ext cx="568498" cy="568498"/>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a:extLst>
              <a:ext uri="{FF2B5EF4-FFF2-40B4-BE49-F238E27FC236}">
                <a16:creationId xmlns:a16="http://schemas.microsoft.com/office/drawing/2014/main" id="{8F93DBC5-4171-1C02-0598-2CADA8498410}"/>
              </a:ext>
            </a:extLst>
          </p:cNvPr>
          <p:cNvSpPr/>
          <p:nvPr/>
        </p:nvSpPr>
        <p:spPr>
          <a:xfrm flipV="1">
            <a:off x="6703324" y="3597835"/>
            <a:ext cx="568498" cy="568498"/>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1660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0"/>
                                  </p:stCondLst>
                                  <p:childTnLst>
                                    <p:set>
                                      <p:cBhvr>
                                        <p:cTn id="23" dur="1" fill="hold">
                                          <p:stCondLst>
                                            <p:cond delay="0"/>
                                          </p:stCondLst>
                                        </p:cTn>
                                        <p:tgtEl>
                                          <p:spTgt spid="14"/>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42"/>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7"/>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53"/>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54"/>
                                        </p:tgtEl>
                                        <p:attrNameLst>
                                          <p:attrName>style.visibility</p:attrName>
                                        </p:attrNameLst>
                                      </p:cBhvr>
                                      <p:to>
                                        <p:strVal val="visible"/>
                                      </p:to>
                                    </p:set>
                                  </p:childTnLst>
                                </p:cTn>
                              </p:par>
                              <p:par>
                                <p:cTn id="34" presetID="1" presetClass="exit" presetSubtype="0" fill="hold" grpId="1" nodeType="withEffect">
                                  <p:stCondLst>
                                    <p:cond delay="0"/>
                                  </p:stCondLst>
                                  <p:childTnLst>
                                    <p:set>
                                      <p:cBhvr>
                                        <p:cTn id="35" dur="1" fill="hold">
                                          <p:stCondLst>
                                            <p:cond delay="0"/>
                                          </p:stCondLst>
                                        </p:cTn>
                                        <p:tgtEl>
                                          <p:spTgt spid="7"/>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41"/>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40"/>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animBg="1"/>
      <p:bldP spid="3" grpId="0" uiExpand="1" build="p"/>
      <p:bldP spid="14" grpId="0" animBg="1"/>
      <p:bldP spid="5" grpId="0" uiExpand="1" animBg="1"/>
      <p:bldP spid="13" grpId="0" uiExpand="1" animBg="1"/>
      <p:bldP spid="7" grpId="0" animBg="1"/>
      <p:bldP spid="7" grpId="1" animBg="1"/>
      <p:bldP spid="41" grpId="0" animBg="1"/>
      <p:bldP spid="53" grpId="0" animBg="1"/>
      <p:bldP spid="4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D4AED-4CFD-7ECE-FECD-AA032A3F04F2}"/>
              </a:ext>
            </a:extLst>
          </p:cNvPr>
          <p:cNvSpPr>
            <a:spLocks noGrp="1"/>
          </p:cNvSpPr>
          <p:nvPr>
            <p:ph type="title"/>
          </p:nvPr>
        </p:nvSpPr>
        <p:spPr>
          <a:xfrm>
            <a:off x="681346" y="543251"/>
            <a:ext cx="8596668" cy="1320800"/>
          </a:xfrm>
        </p:spPr>
        <p:txBody>
          <a:bodyPr/>
          <a:lstStyle/>
          <a:p>
            <a:r>
              <a:rPr lang="en-GB" dirty="0"/>
              <a:t>Case Study: Camille &amp; Edward</a:t>
            </a:r>
            <a:endParaRPr lang="en-US" dirty="0"/>
          </a:p>
        </p:txBody>
      </p:sp>
      <p:sp>
        <p:nvSpPr>
          <p:cNvPr id="5" name="TextBox 4">
            <a:extLst>
              <a:ext uri="{FF2B5EF4-FFF2-40B4-BE49-F238E27FC236}">
                <a16:creationId xmlns:a16="http://schemas.microsoft.com/office/drawing/2014/main" id="{93839ED1-E09B-A34F-79B8-F0F4F2EF6C5C}"/>
              </a:ext>
            </a:extLst>
          </p:cNvPr>
          <p:cNvSpPr txBox="1"/>
          <p:nvPr/>
        </p:nvSpPr>
        <p:spPr>
          <a:xfrm>
            <a:off x="488322" y="6627168"/>
            <a:ext cx="6096000" cy="230832"/>
          </a:xfrm>
          <a:prstGeom prst="rect">
            <a:avLst/>
          </a:prstGeom>
          <a:noFill/>
        </p:spPr>
        <p:txBody>
          <a:bodyPr wrap="square">
            <a:spAutoFit/>
          </a:bodyPr>
          <a:lstStyle/>
          <a:p>
            <a:r>
              <a:rPr lang="en-GB" sz="900" dirty="0"/>
              <a:t>Work icons created by </a:t>
            </a:r>
            <a:r>
              <a:rPr lang="en-GB" sz="900" dirty="0" err="1"/>
              <a:t>Eucalyp</a:t>
            </a:r>
            <a:r>
              <a:rPr lang="en-GB" sz="900" dirty="0"/>
              <a:t> - </a:t>
            </a:r>
            <a:r>
              <a:rPr lang="en-GB" sz="900" dirty="0" err="1"/>
              <a:t>Flaticon</a:t>
            </a:r>
            <a:endParaRPr lang="en-GB" sz="900" dirty="0"/>
          </a:p>
        </p:txBody>
      </p:sp>
      <p:pic>
        <p:nvPicPr>
          <p:cNvPr id="8" name="Picture 7" descr="A picture containing black, darkness&#10;&#10;Description automatically generated">
            <a:extLst>
              <a:ext uri="{FF2B5EF4-FFF2-40B4-BE49-F238E27FC236}">
                <a16:creationId xmlns:a16="http://schemas.microsoft.com/office/drawing/2014/main" id="{94088504-E9E5-055C-326D-0F5C9B39C22B}"/>
              </a:ext>
            </a:extLst>
          </p:cNvPr>
          <p:cNvPicPr>
            <a:picLocks noChangeAspect="1"/>
          </p:cNvPicPr>
          <p:nvPr/>
        </p:nvPicPr>
        <p:blipFill>
          <a:blip r:embed="rId3">
            <a:duotone>
              <a:schemeClr val="accent1">
                <a:shade val="45000"/>
                <a:satMod val="135000"/>
              </a:schemeClr>
              <a:prstClr val="white"/>
            </a:duotone>
          </a:blip>
          <a:stretch>
            <a:fillRect/>
          </a:stretch>
        </p:blipFill>
        <p:spPr>
          <a:xfrm>
            <a:off x="1619963" y="2321056"/>
            <a:ext cx="2682254" cy="2682254"/>
          </a:xfrm>
          <a:prstGeom prst="rect">
            <a:avLst/>
          </a:prstGeom>
        </p:spPr>
      </p:pic>
      <p:cxnSp>
        <p:nvCxnSpPr>
          <p:cNvPr id="4" name="Gerader Verbinder 3">
            <a:extLst>
              <a:ext uri="{FF2B5EF4-FFF2-40B4-BE49-F238E27FC236}">
                <a16:creationId xmlns:a16="http://schemas.microsoft.com/office/drawing/2014/main" id="{89C55774-C1FF-F5F9-7CD9-480D05D0EF79}"/>
              </a:ext>
            </a:extLst>
          </p:cNvPr>
          <p:cNvCxnSpPr>
            <a:cxnSpLocks/>
          </p:cNvCxnSpPr>
          <p:nvPr/>
        </p:nvCxnSpPr>
        <p:spPr>
          <a:xfrm>
            <a:off x="5012676" y="2146441"/>
            <a:ext cx="0" cy="3031485"/>
          </a:xfrm>
          <a:prstGeom prst="line">
            <a:avLst/>
          </a:prstGeom>
          <a:ln w="63500">
            <a:prstDash val="dash"/>
          </a:ln>
        </p:spPr>
        <p:style>
          <a:lnRef idx="1">
            <a:schemeClr val="accent1"/>
          </a:lnRef>
          <a:fillRef idx="0">
            <a:schemeClr val="accent1"/>
          </a:fillRef>
          <a:effectRef idx="0">
            <a:schemeClr val="accent1"/>
          </a:effectRef>
          <a:fontRef idx="minor">
            <a:schemeClr val="tx1"/>
          </a:fontRef>
        </p:style>
      </p:cxnSp>
      <p:pic>
        <p:nvPicPr>
          <p:cNvPr id="7" name="Graphic 6" descr="Programmer male outline">
            <a:extLst>
              <a:ext uri="{FF2B5EF4-FFF2-40B4-BE49-F238E27FC236}">
                <a16:creationId xmlns:a16="http://schemas.microsoft.com/office/drawing/2014/main" id="{E4DF2DA1-147D-809F-FF3B-D22461B8D0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21843" y="2321183"/>
            <a:ext cx="2682000" cy="2682000"/>
          </a:xfrm>
          <a:prstGeom prst="rect">
            <a:avLst/>
          </a:prstGeom>
        </p:spPr>
      </p:pic>
    </p:spTree>
    <p:extLst>
      <p:ext uri="{BB962C8B-B14F-4D97-AF65-F5344CB8AC3E}">
        <p14:creationId xmlns:p14="http://schemas.microsoft.com/office/powerpoint/2010/main" val="2383506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D4A16-9122-D5AD-3902-6321BA5F95F6}"/>
              </a:ext>
            </a:extLst>
          </p:cNvPr>
          <p:cNvSpPr>
            <a:spLocks noGrp="1"/>
          </p:cNvSpPr>
          <p:nvPr>
            <p:ph type="title"/>
          </p:nvPr>
        </p:nvSpPr>
        <p:spPr/>
        <p:txBody>
          <a:bodyPr/>
          <a:lstStyle/>
          <a:p>
            <a:r>
              <a:rPr lang="en-US" dirty="0"/>
              <a:t>Let’s walk through how this works</a:t>
            </a:r>
          </a:p>
        </p:txBody>
      </p:sp>
      <p:grpSp>
        <p:nvGrpSpPr>
          <p:cNvPr id="94" name="Gruppieren 93">
            <a:extLst>
              <a:ext uri="{FF2B5EF4-FFF2-40B4-BE49-F238E27FC236}">
                <a16:creationId xmlns:a16="http://schemas.microsoft.com/office/drawing/2014/main" id="{2B36FEAC-9CC7-FF69-C2C4-C2DCF60098F0}"/>
              </a:ext>
            </a:extLst>
          </p:cNvPr>
          <p:cNvGrpSpPr/>
          <p:nvPr/>
        </p:nvGrpSpPr>
        <p:grpSpPr>
          <a:xfrm>
            <a:off x="527336" y="4220717"/>
            <a:ext cx="10543439" cy="1728000"/>
            <a:chOff x="527336" y="4220717"/>
            <a:chExt cx="10543439" cy="1728000"/>
          </a:xfrm>
        </p:grpSpPr>
        <p:sp>
          <p:nvSpPr>
            <p:cNvPr id="23" name="Rectangle 22">
              <a:extLst>
                <a:ext uri="{FF2B5EF4-FFF2-40B4-BE49-F238E27FC236}">
                  <a16:creationId xmlns:a16="http://schemas.microsoft.com/office/drawing/2014/main" id="{03AF21F2-AA39-023B-A19C-8DEDACAF58BA}"/>
                </a:ext>
              </a:extLst>
            </p:cNvPr>
            <p:cNvSpPr/>
            <p:nvPr/>
          </p:nvSpPr>
          <p:spPr>
            <a:xfrm>
              <a:off x="527336" y="4220717"/>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bg1">
                <a:lumMod val="85000"/>
                <a:alpha val="50000"/>
              </a:schemeClr>
            </a:solidFill>
            <a:ln w="28575">
              <a:solidFill>
                <a:schemeClr val="bg2">
                  <a:lumMod val="50000"/>
                </a:schemeClr>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Graphic 23" descr="Programmer male outline">
              <a:extLst>
                <a:ext uri="{FF2B5EF4-FFF2-40B4-BE49-F238E27FC236}">
                  <a16:creationId xmlns:a16="http://schemas.microsoft.com/office/drawing/2014/main" id="{C8D125EE-A9B8-DE35-24C6-2E5ED12AF9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2219" y="4443917"/>
              <a:ext cx="1281600" cy="1281600"/>
            </a:xfrm>
            <a:prstGeom prst="rect">
              <a:avLst/>
            </a:prstGeom>
          </p:spPr>
        </p:pic>
      </p:grpSp>
      <p:grpSp>
        <p:nvGrpSpPr>
          <p:cNvPr id="88" name="Gruppieren 87">
            <a:extLst>
              <a:ext uri="{FF2B5EF4-FFF2-40B4-BE49-F238E27FC236}">
                <a16:creationId xmlns:a16="http://schemas.microsoft.com/office/drawing/2014/main" id="{5B34E625-380C-FC47-6296-7D398A20766B}"/>
              </a:ext>
            </a:extLst>
          </p:cNvPr>
          <p:cNvGrpSpPr/>
          <p:nvPr/>
        </p:nvGrpSpPr>
        <p:grpSpPr>
          <a:xfrm>
            <a:off x="527336" y="2155747"/>
            <a:ext cx="10543439" cy="1728000"/>
            <a:chOff x="527336" y="1274400"/>
            <a:chExt cx="10543439" cy="1728000"/>
          </a:xfrm>
        </p:grpSpPr>
        <p:sp>
          <p:nvSpPr>
            <p:cNvPr id="16" name="Rectangle 13">
              <a:extLst>
                <a:ext uri="{FF2B5EF4-FFF2-40B4-BE49-F238E27FC236}">
                  <a16:creationId xmlns:a16="http://schemas.microsoft.com/office/drawing/2014/main" id="{CB25FD58-7D51-4172-3237-D3DA7EBEC1CA}"/>
                </a:ext>
              </a:extLst>
            </p:cNvPr>
            <p:cNvSpPr/>
            <p:nvPr/>
          </p:nvSpPr>
          <p:spPr>
            <a:xfrm>
              <a:off x="527336" y="1274400"/>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accent1">
                <a:lumMod val="20000"/>
                <a:lumOff val="80000"/>
                <a:alpha val="50000"/>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24">
              <a:extLst>
                <a:ext uri="{FF2B5EF4-FFF2-40B4-BE49-F238E27FC236}">
                  <a16:creationId xmlns:a16="http://schemas.microsoft.com/office/drawing/2014/main" id="{97334313-0DCA-064E-DE21-E60AA3EE4783}"/>
                </a:ext>
              </a:extLst>
            </p:cNvPr>
            <p:cNvGrpSpPr>
              <a:grpSpLocks noChangeAspect="1"/>
            </p:cNvGrpSpPr>
            <p:nvPr/>
          </p:nvGrpSpPr>
          <p:grpSpPr>
            <a:xfrm>
              <a:off x="719018" y="1390545"/>
              <a:ext cx="1728000" cy="1495711"/>
              <a:chOff x="5096920" y="3386757"/>
              <a:chExt cx="4321315" cy="3742090"/>
            </a:xfrm>
          </p:grpSpPr>
          <p:grpSp>
            <p:nvGrpSpPr>
              <p:cNvPr id="18" name="Group 25">
                <a:extLst>
                  <a:ext uri="{FF2B5EF4-FFF2-40B4-BE49-F238E27FC236}">
                    <a16:creationId xmlns:a16="http://schemas.microsoft.com/office/drawing/2014/main" id="{C6EC6ADA-09E3-EEC4-A4DB-44A3AED10826}"/>
                  </a:ext>
                </a:extLst>
              </p:cNvPr>
              <p:cNvGrpSpPr/>
              <p:nvPr/>
            </p:nvGrpSpPr>
            <p:grpSpPr>
              <a:xfrm>
                <a:off x="5096920" y="3386757"/>
                <a:ext cx="4321315" cy="3742090"/>
                <a:chOff x="6637198" y="3500440"/>
                <a:chExt cx="3071935" cy="3042000"/>
              </a:xfrm>
            </p:grpSpPr>
            <p:pic>
              <p:nvPicPr>
                <p:cNvPr id="22" name="Graphic 29" descr="Cloud with solid fill">
                  <a:extLst>
                    <a:ext uri="{FF2B5EF4-FFF2-40B4-BE49-F238E27FC236}">
                      <a16:creationId xmlns:a16="http://schemas.microsoft.com/office/drawing/2014/main" id="{9EC4E47A-C694-2C3D-ACB3-18985BE979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67133" y="3500440"/>
                  <a:ext cx="3042000" cy="3042000"/>
                </a:xfrm>
                <a:prstGeom prst="rect">
                  <a:avLst/>
                </a:prstGeom>
              </p:spPr>
            </p:pic>
            <p:pic>
              <p:nvPicPr>
                <p:cNvPr id="32" name="Graphic 30" descr="Cloud outline">
                  <a:extLst>
                    <a:ext uri="{FF2B5EF4-FFF2-40B4-BE49-F238E27FC236}">
                      <a16:creationId xmlns:a16="http://schemas.microsoft.com/office/drawing/2014/main" id="{FF36AF85-7176-3AD8-D896-C65AD7E280A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37198" y="3500440"/>
                  <a:ext cx="3042000" cy="3042000"/>
                </a:xfrm>
                <a:prstGeom prst="rect">
                  <a:avLst/>
                </a:prstGeom>
              </p:spPr>
            </p:pic>
          </p:grpSp>
          <p:pic>
            <p:nvPicPr>
              <p:cNvPr id="19" name="Graphic 26">
                <a:extLst>
                  <a:ext uri="{FF2B5EF4-FFF2-40B4-BE49-F238E27FC236}">
                    <a16:creationId xmlns:a16="http://schemas.microsoft.com/office/drawing/2014/main" id="{AE9F7DD1-79DD-9343-8CC1-31712D9EEE4B}"/>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0856" y="5186362"/>
                <a:ext cx="811406" cy="800291"/>
              </a:xfrm>
              <a:prstGeom prst="rect">
                <a:avLst/>
              </a:prstGeom>
            </p:spPr>
          </p:pic>
          <p:pic>
            <p:nvPicPr>
              <p:cNvPr id="20" name="Graphic 27">
                <a:extLst>
                  <a:ext uri="{FF2B5EF4-FFF2-40B4-BE49-F238E27FC236}">
                    <a16:creationId xmlns:a16="http://schemas.microsoft.com/office/drawing/2014/main" id="{BB6C8C4D-5644-4306-9022-308A79A78EF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75966" y="4320973"/>
                <a:ext cx="1512000" cy="1512000"/>
              </a:xfrm>
              <a:prstGeom prst="rect">
                <a:avLst/>
              </a:prstGeom>
            </p:spPr>
          </p:pic>
          <p:pic>
            <p:nvPicPr>
              <p:cNvPr id="21" name="Graphic 28">
                <a:extLst>
                  <a:ext uri="{FF2B5EF4-FFF2-40B4-BE49-F238E27FC236}">
                    <a16:creationId xmlns:a16="http://schemas.microsoft.com/office/drawing/2014/main" id="{20ADB816-8516-1441-56E6-C79FF2ADB2D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66824" y="5076973"/>
                <a:ext cx="1080000" cy="1080000"/>
              </a:xfrm>
              <a:prstGeom prst="rect">
                <a:avLst/>
              </a:prstGeom>
            </p:spPr>
          </p:pic>
        </p:grpSp>
        <p:grpSp>
          <p:nvGrpSpPr>
            <p:cNvPr id="33" name="Group 42">
              <a:extLst>
                <a:ext uri="{FF2B5EF4-FFF2-40B4-BE49-F238E27FC236}">
                  <a16:creationId xmlns:a16="http://schemas.microsoft.com/office/drawing/2014/main" id="{BFF32079-C57C-F332-6B44-351A6AB62CAB}"/>
                </a:ext>
              </a:extLst>
            </p:cNvPr>
            <p:cNvGrpSpPr/>
            <p:nvPr/>
          </p:nvGrpSpPr>
          <p:grpSpPr>
            <a:xfrm>
              <a:off x="3761410" y="1773979"/>
              <a:ext cx="4993873" cy="728843"/>
              <a:chOff x="4009104" y="2354854"/>
              <a:chExt cx="4993873" cy="728843"/>
            </a:xfrm>
          </p:grpSpPr>
          <p:cxnSp>
            <p:nvCxnSpPr>
              <p:cNvPr id="36" name="Straight Connector 50">
                <a:extLst>
                  <a:ext uri="{FF2B5EF4-FFF2-40B4-BE49-F238E27FC236}">
                    <a16:creationId xmlns:a16="http://schemas.microsoft.com/office/drawing/2014/main" id="{B6AC77B7-BDCE-0FBB-90DA-5D59177FB52E}"/>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7" name="Straight Connector 51">
                <a:extLst>
                  <a:ext uri="{FF2B5EF4-FFF2-40B4-BE49-F238E27FC236}">
                    <a16:creationId xmlns:a16="http://schemas.microsoft.com/office/drawing/2014/main" id="{3589D721-2073-BE5C-F315-3D65FF5E5B82}"/>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8" name="Straight Connector 52">
                <a:extLst>
                  <a:ext uri="{FF2B5EF4-FFF2-40B4-BE49-F238E27FC236}">
                    <a16:creationId xmlns:a16="http://schemas.microsoft.com/office/drawing/2014/main" id="{899AAB4D-2472-313B-8D0E-A121AB0B4E54}"/>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39" name="Oval 53">
                <a:extLst>
                  <a:ext uri="{FF2B5EF4-FFF2-40B4-BE49-F238E27FC236}">
                    <a16:creationId xmlns:a16="http://schemas.microsoft.com/office/drawing/2014/main" id="{828F7FC1-D31B-F1DB-9F32-ADE6FAC24503}"/>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54">
                <a:extLst>
                  <a:ext uri="{FF2B5EF4-FFF2-40B4-BE49-F238E27FC236}">
                    <a16:creationId xmlns:a16="http://schemas.microsoft.com/office/drawing/2014/main" id="{3F3A324A-8F7B-574B-7B65-3F33837EA4A1}"/>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48">
                <a:extLst>
                  <a:ext uri="{FF2B5EF4-FFF2-40B4-BE49-F238E27FC236}">
                    <a16:creationId xmlns:a16="http://schemas.microsoft.com/office/drawing/2014/main" id="{7DB7B60D-BE26-B518-ED2C-4648FDE937FB}"/>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49">
                <a:extLst>
                  <a:ext uri="{FF2B5EF4-FFF2-40B4-BE49-F238E27FC236}">
                    <a16:creationId xmlns:a16="http://schemas.microsoft.com/office/drawing/2014/main" id="{3D6936FC-7DC9-ECF4-D982-C1B568CA458A}"/>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41" name="Grafik 40">
            <a:extLst>
              <a:ext uri="{FF2B5EF4-FFF2-40B4-BE49-F238E27FC236}">
                <a16:creationId xmlns:a16="http://schemas.microsoft.com/office/drawing/2014/main" id="{3C017583-E87E-B323-6F0F-BFE8A2E74AFE}"/>
              </a:ext>
            </a:extLst>
          </p:cNvPr>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a:off x="2024214" y="2285298"/>
            <a:ext cx="720000" cy="720000"/>
          </a:xfrm>
          <a:prstGeom prst="rect">
            <a:avLst/>
          </a:prstGeom>
        </p:spPr>
      </p:pic>
      <p:sp>
        <p:nvSpPr>
          <p:cNvPr id="79" name="Down Arrow 71">
            <a:extLst>
              <a:ext uri="{FF2B5EF4-FFF2-40B4-BE49-F238E27FC236}">
                <a16:creationId xmlns:a16="http://schemas.microsoft.com/office/drawing/2014/main" id="{2DE1DD26-A501-45CE-A4FE-97A12799B1D8}"/>
              </a:ext>
            </a:extLst>
          </p:cNvPr>
          <p:cNvSpPr/>
          <p:nvPr/>
        </p:nvSpPr>
        <p:spPr>
          <a:xfrm>
            <a:off x="9000997" y="3237234"/>
            <a:ext cx="1130157" cy="1830904"/>
          </a:xfrm>
          <a:prstGeom prst="downArrow">
            <a:avLst/>
          </a:prstGeom>
          <a:solidFill>
            <a:schemeClr val="accent2">
              <a:lumMod val="50000"/>
            </a:schemeClr>
          </a:solidFill>
          <a:ln>
            <a:solidFill>
              <a:schemeClr val="accent2">
                <a:lumMod val="50000"/>
                <a:alpha val="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dirty="0">
                <a:solidFill>
                  <a:schemeClr val="bg1"/>
                </a:solidFill>
              </a:rPr>
              <a:t>Clone</a:t>
            </a:r>
          </a:p>
        </p:txBody>
      </p:sp>
    </p:spTree>
    <p:extLst>
      <p:ext uri="{BB962C8B-B14F-4D97-AF65-F5344CB8AC3E}">
        <p14:creationId xmlns:p14="http://schemas.microsoft.com/office/powerpoint/2010/main" val="2083053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mph" presetSubtype="2" fill="hold" nodeType="clickEffect">
                                  <p:stCondLst>
                                    <p:cond delay="0"/>
                                  </p:stCondLst>
                                  <p:childTnLst>
                                    <p:animClr clrSpc="rgb" dir="cw">
                                      <p:cBhvr>
                                        <p:cTn id="10" dur="10" fill="hold"/>
                                        <p:tgtEl>
                                          <p:spTgt spid="79"/>
                                        </p:tgtEl>
                                        <p:attrNameLst>
                                          <p:attrName>fillcolor</p:attrName>
                                        </p:attrNameLst>
                                      </p:cBhvr>
                                      <p:to>
                                        <a:srgbClr val="F43A54"/>
                                      </p:to>
                                    </p:animClr>
                                    <p:set>
                                      <p:cBhvr>
                                        <p:cTn id="11" dur="10" fill="hold"/>
                                        <p:tgtEl>
                                          <p:spTgt spid="79"/>
                                        </p:tgtEl>
                                        <p:attrNameLst>
                                          <p:attrName>fill.type</p:attrName>
                                        </p:attrNameLst>
                                      </p:cBhvr>
                                      <p:to>
                                        <p:strVal val="solid"/>
                                      </p:to>
                                    </p:set>
                                    <p:set>
                                      <p:cBhvr>
                                        <p:cTn id="12" dur="10" fill="hold"/>
                                        <p:tgtEl>
                                          <p:spTgt spid="79"/>
                                        </p:tgtEl>
                                        <p:attrNameLst>
                                          <p:attrName>fill.on</p:attrName>
                                        </p:attrNameLst>
                                      </p:cBhvr>
                                      <p:to>
                                        <p:strVal val="true"/>
                                      </p:to>
                                    </p:set>
                                  </p:childTnLst>
                                </p:cTn>
                              </p:par>
                              <p:par>
                                <p:cTn id="13" presetID="1" presetClass="entr" presetSubtype="0" fill="hold" nodeType="with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1CAB11-ECF0-42B6-B083-EB0D37301293}"/>
              </a:ext>
            </a:extLst>
          </p:cNvPr>
          <p:cNvSpPr>
            <a:spLocks noGrp="1"/>
          </p:cNvSpPr>
          <p:nvPr>
            <p:ph type="title"/>
          </p:nvPr>
        </p:nvSpPr>
        <p:spPr/>
        <p:txBody>
          <a:bodyPr/>
          <a:lstStyle/>
          <a:p>
            <a:r>
              <a:rPr lang="en-GB" dirty="0"/>
              <a:t>Introduction Agenda</a:t>
            </a:r>
          </a:p>
        </p:txBody>
      </p:sp>
      <p:sp>
        <p:nvSpPr>
          <p:cNvPr id="5" name="Content Placeholder 4">
            <a:extLst>
              <a:ext uri="{FF2B5EF4-FFF2-40B4-BE49-F238E27FC236}">
                <a16:creationId xmlns:a16="http://schemas.microsoft.com/office/drawing/2014/main" id="{09F061EF-7BF5-4058-B9E7-CA7D63165D6F}"/>
              </a:ext>
            </a:extLst>
          </p:cNvPr>
          <p:cNvSpPr>
            <a:spLocks noGrp="1"/>
          </p:cNvSpPr>
          <p:nvPr>
            <p:ph idx="1"/>
          </p:nvPr>
        </p:nvSpPr>
        <p:spPr>
          <a:xfrm>
            <a:off x="677334" y="1539241"/>
            <a:ext cx="8596668" cy="4502122"/>
          </a:xfrm>
        </p:spPr>
        <p:txBody>
          <a:bodyPr>
            <a:normAutofit/>
          </a:bodyPr>
          <a:lstStyle/>
          <a:p>
            <a:pPr>
              <a:spcBef>
                <a:spcPts val="1500"/>
              </a:spcBef>
              <a:spcAft>
                <a:spcPts val="600"/>
              </a:spcAft>
            </a:pPr>
            <a:r>
              <a:rPr lang="en-GB" sz="2400" b="1" dirty="0"/>
              <a:t>Intro to git and GitHub </a:t>
            </a:r>
          </a:p>
          <a:p>
            <a:pPr>
              <a:spcBef>
                <a:spcPts val="1500"/>
              </a:spcBef>
              <a:spcAft>
                <a:spcPts val="600"/>
              </a:spcAft>
            </a:pPr>
            <a:r>
              <a:rPr lang="en-GB" sz="2400" b="1" dirty="0"/>
              <a:t>Git in Theory </a:t>
            </a:r>
          </a:p>
          <a:p>
            <a:pPr>
              <a:spcBef>
                <a:spcPts val="1500"/>
              </a:spcBef>
              <a:spcAft>
                <a:spcPts val="600"/>
              </a:spcAft>
            </a:pPr>
            <a:r>
              <a:rPr lang="en-GB" sz="2400" b="1" dirty="0"/>
              <a:t>Git in Practice</a:t>
            </a:r>
          </a:p>
        </p:txBody>
      </p:sp>
      <p:sp>
        <p:nvSpPr>
          <p:cNvPr id="6" name="TextBox 5">
            <a:extLst>
              <a:ext uri="{FF2B5EF4-FFF2-40B4-BE49-F238E27FC236}">
                <a16:creationId xmlns:a16="http://schemas.microsoft.com/office/drawing/2014/main" id="{A113E4D4-6788-4CBE-B68F-3678A9A4B94B}"/>
              </a:ext>
            </a:extLst>
          </p:cNvPr>
          <p:cNvSpPr txBox="1"/>
          <p:nvPr/>
        </p:nvSpPr>
        <p:spPr>
          <a:xfrm>
            <a:off x="11653024" y="6467707"/>
            <a:ext cx="538976" cy="369332"/>
          </a:xfrm>
          <a:prstGeom prst="rect">
            <a:avLst/>
          </a:prstGeom>
          <a:noFill/>
        </p:spPr>
        <p:txBody>
          <a:bodyPr wrap="square" rtlCol="0">
            <a:spAutoFit/>
          </a:bodyPr>
          <a:lstStyle/>
          <a:p>
            <a:fld id="{7963FE43-8656-4C5A-9E03-5FE3C6822857}" type="slidenum">
              <a:rPr lang="en-US" smtClean="0"/>
              <a:t>3</a:t>
            </a:fld>
            <a:endParaRPr lang="en-US" dirty="0"/>
          </a:p>
        </p:txBody>
      </p:sp>
    </p:spTree>
    <p:extLst>
      <p:ext uri="{BB962C8B-B14F-4D97-AF65-F5344CB8AC3E}">
        <p14:creationId xmlns:p14="http://schemas.microsoft.com/office/powerpoint/2010/main" val="16896255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D4A16-9122-D5AD-3902-6321BA5F95F6}"/>
              </a:ext>
            </a:extLst>
          </p:cNvPr>
          <p:cNvSpPr>
            <a:spLocks noGrp="1"/>
          </p:cNvSpPr>
          <p:nvPr>
            <p:ph type="title"/>
          </p:nvPr>
        </p:nvSpPr>
        <p:spPr/>
        <p:txBody>
          <a:bodyPr/>
          <a:lstStyle/>
          <a:p>
            <a:r>
              <a:rPr lang="en-US" dirty="0"/>
              <a:t>Let’s walk through how this works</a:t>
            </a:r>
          </a:p>
        </p:txBody>
      </p:sp>
      <p:sp>
        <p:nvSpPr>
          <p:cNvPr id="14" name="Rectangle 13">
            <a:extLst>
              <a:ext uri="{FF2B5EF4-FFF2-40B4-BE49-F238E27FC236}">
                <a16:creationId xmlns:a16="http://schemas.microsoft.com/office/drawing/2014/main" id="{03E7BBAB-55FB-0996-D4F5-0F6CF1415505}"/>
              </a:ext>
            </a:extLst>
          </p:cNvPr>
          <p:cNvSpPr/>
          <p:nvPr/>
        </p:nvSpPr>
        <p:spPr>
          <a:xfrm>
            <a:off x="527337" y="3148952"/>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accent1">
              <a:lumMod val="20000"/>
              <a:lumOff val="80000"/>
              <a:alpha val="50000"/>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3AF21F2-AA39-023B-A19C-8DEDACAF58BA}"/>
              </a:ext>
            </a:extLst>
          </p:cNvPr>
          <p:cNvSpPr/>
          <p:nvPr/>
        </p:nvSpPr>
        <p:spPr>
          <a:xfrm>
            <a:off x="527336" y="5058000"/>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bg1">
              <a:lumMod val="85000"/>
              <a:alpha val="50000"/>
            </a:schemeClr>
          </a:solidFill>
          <a:ln w="28575">
            <a:solidFill>
              <a:schemeClr val="bg2">
                <a:lumMod val="50000"/>
              </a:schemeClr>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descr="Programmer male outline">
            <a:extLst>
              <a:ext uri="{FF2B5EF4-FFF2-40B4-BE49-F238E27FC236}">
                <a16:creationId xmlns:a16="http://schemas.microsoft.com/office/drawing/2014/main" id="{C8D125EE-A9B8-DE35-24C6-2E5ED12AF9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2219" y="5281200"/>
            <a:ext cx="1281600" cy="1281600"/>
          </a:xfrm>
          <a:prstGeom prst="rect">
            <a:avLst/>
          </a:prstGeom>
        </p:spPr>
      </p:pic>
      <p:grpSp>
        <p:nvGrpSpPr>
          <p:cNvPr id="25" name="Group 24">
            <a:extLst>
              <a:ext uri="{FF2B5EF4-FFF2-40B4-BE49-F238E27FC236}">
                <a16:creationId xmlns:a16="http://schemas.microsoft.com/office/drawing/2014/main" id="{3B9359CC-AD07-FFCA-6EA7-B72C098A8BF5}"/>
              </a:ext>
            </a:extLst>
          </p:cNvPr>
          <p:cNvGrpSpPr>
            <a:grpSpLocks noChangeAspect="1"/>
          </p:cNvGrpSpPr>
          <p:nvPr/>
        </p:nvGrpSpPr>
        <p:grpSpPr>
          <a:xfrm>
            <a:off x="719019" y="3265097"/>
            <a:ext cx="1728000" cy="1495711"/>
            <a:chOff x="5096920" y="3386757"/>
            <a:chExt cx="4321315" cy="3742090"/>
          </a:xfrm>
        </p:grpSpPr>
        <p:grpSp>
          <p:nvGrpSpPr>
            <p:cNvPr id="26" name="Group 25">
              <a:extLst>
                <a:ext uri="{FF2B5EF4-FFF2-40B4-BE49-F238E27FC236}">
                  <a16:creationId xmlns:a16="http://schemas.microsoft.com/office/drawing/2014/main" id="{4C7FD76A-D956-DBD6-D080-A289C208BBB1}"/>
                </a:ext>
              </a:extLst>
            </p:cNvPr>
            <p:cNvGrpSpPr/>
            <p:nvPr/>
          </p:nvGrpSpPr>
          <p:grpSpPr>
            <a:xfrm>
              <a:off x="5096920" y="3386757"/>
              <a:ext cx="4321315" cy="3742090"/>
              <a:chOff x="6637198" y="3500440"/>
              <a:chExt cx="3071935" cy="3042000"/>
            </a:xfrm>
          </p:grpSpPr>
          <p:pic>
            <p:nvPicPr>
              <p:cNvPr id="30" name="Graphic 29" descr="Cloud with solid fill">
                <a:extLst>
                  <a:ext uri="{FF2B5EF4-FFF2-40B4-BE49-F238E27FC236}">
                    <a16:creationId xmlns:a16="http://schemas.microsoft.com/office/drawing/2014/main" id="{3CD511FF-DEAA-6075-400C-06912677F28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67133" y="3500440"/>
                <a:ext cx="3042000" cy="3042000"/>
              </a:xfrm>
              <a:prstGeom prst="rect">
                <a:avLst/>
              </a:prstGeom>
            </p:spPr>
          </p:pic>
          <p:pic>
            <p:nvPicPr>
              <p:cNvPr id="31" name="Graphic 30" descr="Cloud outline">
                <a:extLst>
                  <a:ext uri="{FF2B5EF4-FFF2-40B4-BE49-F238E27FC236}">
                    <a16:creationId xmlns:a16="http://schemas.microsoft.com/office/drawing/2014/main" id="{72583E36-C879-E68E-1DFA-425657956CD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37198" y="3500440"/>
                <a:ext cx="3042000" cy="3042000"/>
              </a:xfrm>
              <a:prstGeom prst="rect">
                <a:avLst/>
              </a:prstGeom>
            </p:spPr>
          </p:pic>
        </p:grpSp>
        <p:pic>
          <p:nvPicPr>
            <p:cNvPr id="27" name="Graphic 26">
              <a:extLst>
                <a:ext uri="{FF2B5EF4-FFF2-40B4-BE49-F238E27FC236}">
                  <a16:creationId xmlns:a16="http://schemas.microsoft.com/office/drawing/2014/main" id="{A195006E-2729-8AE5-FCB9-FC270C8A892A}"/>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0856" y="5186362"/>
              <a:ext cx="811406" cy="800291"/>
            </a:xfrm>
            <a:prstGeom prst="rect">
              <a:avLst/>
            </a:prstGeom>
          </p:spPr>
        </p:pic>
        <p:pic>
          <p:nvPicPr>
            <p:cNvPr id="28" name="Graphic 27">
              <a:extLst>
                <a:ext uri="{FF2B5EF4-FFF2-40B4-BE49-F238E27FC236}">
                  <a16:creationId xmlns:a16="http://schemas.microsoft.com/office/drawing/2014/main" id="{260CD8F4-0805-CAF0-2798-D5A3DDBCBCA0}"/>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75966" y="4320973"/>
              <a:ext cx="1512000" cy="1512000"/>
            </a:xfrm>
            <a:prstGeom prst="rect">
              <a:avLst/>
            </a:prstGeom>
          </p:spPr>
        </p:pic>
        <p:pic>
          <p:nvPicPr>
            <p:cNvPr id="29" name="Graphic 28">
              <a:extLst>
                <a:ext uri="{FF2B5EF4-FFF2-40B4-BE49-F238E27FC236}">
                  <a16:creationId xmlns:a16="http://schemas.microsoft.com/office/drawing/2014/main" id="{BF425918-96B5-2E47-6B70-EA9ADB4CBBB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66824" y="5076973"/>
              <a:ext cx="1080000" cy="1080000"/>
            </a:xfrm>
            <a:prstGeom prst="rect">
              <a:avLst/>
            </a:prstGeom>
          </p:spPr>
        </p:pic>
      </p:grpSp>
      <p:grpSp>
        <p:nvGrpSpPr>
          <p:cNvPr id="43" name="Group 42">
            <a:extLst>
              <a:ext uri="{FF2B5EF4-FFF2-40B4-BE49-F238E27FC236}">
                <a16:creationId xmlns:a16="http://schemas.microsoft.com/office/drawing/2014/main" id="{0BD267D0-94DA-856F-4F81-BA07F67727A3}"/>
              </a:ext>
            </a:extLst>
          </p:cNvPr>
          <p:cNvGrpSpPr/>
          <p:nvPr/>
        </p:nvGrpSpPr>
        <p:grpSpPr>
          <a:xfrm>
            <a:off x="3761411" y="3648531"/>
            <a:ext cx="4993873" cy="728843"/>
            <a:chOff x="4009104" y="2354854"/>
            <a:chExt cx="4993873" cy="728843"/>
          </a:xfrm>
        </p:grpSpPr>
        <p:cxnSp>
          <p:nvCxnSpPr>
            <p:cNvPr id="51" name="Straight Connector 50">
              <a:extLst>
                <a:ext uri="{FF2B5EF4-FFF2-40B4-BE49-F238E27FC236}">
                  <a16:creationId xmlns:a16="http://schemas.microsoft.com/office/drawing/2014/main" id="{EF8E39D8-E832-1735-F732-94138716578B}"/>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B1B7D50C-B5A2-F066-2EC6-1B07FE075AF8}"/>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E6376BAE-FCAE-5CE9-5AEB-0CC5E6686919}"/>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54" name="Oval 53">
              <a:extLst>
                <a:ext uri="{FF2B5EF4-FFF2-40B4-BE49-F238E27FC236}">
                  <a16:creationId xmlns:a16="http://schemas.microsoft.com/office/drawing/2014/main" id="{5F44DB56-4DA7-51E0-BA5A-CD0F27B3649E}"/>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Oval 54">
              <a:extLst>
                <a:ext uri="{FF2B5EF4-FFF2-40B4-BE49-F238E27FC236}">
                  <a16:creationId xmlns:a16="http://schemas.microsoft.com/office/drawing/2014/main" id="{163D1117-D227-392A-F2AB-59F34DF45161}"/>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a:extLst>
                <a:ext uri="{FF2B5EF4-FFF2-40B4-BE49-F238E27FC236}">
                  <a16:creationId xmlns:a16="http://schemas.microsoft.com/office/drawing/2014/main" id="{AC0E5946-61DE-3240-2F4F-F9897BF08B20}"/>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016C4E93-B3D4-65E5-810C-0062DB420D57}"/>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 name="Group 58">
            <a:extLst>
              <a:ext uri="{FF2B5EF4-FFF2-40B4-BE49-F238E27FC236}">
                <a16:creationId xmlns:a16="http://schemas.microsoft.com/office/drawing/2014/main" id="{EC7D7687-C20B-411B-309A-7FFC6F714634}"/>
              </a:ext>
            </a:extLst>
          </p:cNvPr>
          <p:cNvGrpSpPr/>
          <p:nvPr/>
        </p:nvGrpSpPr>
        <p:grpSpPr>
          <a:xfrm>
            <a:off x="3761411" y="5557579"/>
            <a:ext cx="4993873" cy="728843"/>
            <a:chOff x="4009104" y="2354854"/>
            <a:chExt cx="4993873" cy="728843"/>
          </a:xfrm>
        </p:grpSpPr>
        <p:cxnSp>
          <p:nvCxnSpPr>
            <p:cNvPr id="67" name="Straight Connector 66">
              <a:extLst>
                <a:ext uri="{FF2B5EF4-FFF2-40B4-BE49-F238E27FC236}">
                  <a16:creationId xmlns:a16="http://schemas.microsoft.com/office/drawing/2014/main" id="{C35431E8-FBBF-A7A3-6C9E-7F3DB8D277D4}"/>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8A282F7E-1AA2-D6BC-DCC3-5F421217F860}"/>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F72C28F7-F19F-370B-F226-B0DE625BBA59}"/>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70" name="Oval 69">
              <a:extLst>
                <a:ext uri="{FF2B5EF4-FFF2-40B4-BE49-F238E27FC236}">
                  <a16:creationId xmlns:a16="http://schemas.microsoft.com/office/drawing/2014/main" id="{FC438DAB-4AB2-273C-576D-605CBF87AA5A}"/>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7348CA0C-B245-F262-D545-2D3E89701990}"/>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a:extLst>
                <a:ext uri="{FF2B5EF4-FFF2-40B4-BE49-F238E27FC236}">
                  <a16:creationId xmlns:a16="http://schemas.microsoft.com/office/drawing/2014/main" id="{593AA7D5-291E-0767-D641-700C9B7C90DF}"/>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F90FF585-704A-E19E-0948-F8EF651F6B9A}"/>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2" name="Down Arrow 71">
            <a:extLst>
              <a:ext uri="{FF2B5EF4-FFF2-40B4-BE49-F238E27FC236}">
                <a16:creationId xmlns:a16="http://schemas.microsoft.com/office/drawing/2014/main" id="{121814E6-4108-988A-F1A9-60847F6D97A0}"/>
              </a:ext>
            </a:extLst>
          </p:cNvPr>
          <p:cNvSpPr/>
          <p:nvPr/>
        </p:nvSpPr>
        <p:spPr>
          <a:xfrm>
            <a:off x="9126893" y="4424659"/>
            <a:ext cx="1130157" cy="1524426"/>
          </a:xfrm>
          <a:prstGeom prst="downArrow">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dirty="0">
                <a:solidFill>
                  <a:schemeClr val="bg1"/>
                </a:solidFill>
              </a:rPr>
              <a:t>Clone</a:t>
            </a:r>
          </a:p>
        </p:txBody>
      </p:sp>
      <p:sp>
        <p:nvSpPr>
          <p:cNvPr id="16" name="Rectangle 13">
            <a:extLst>
              <a:ext uri="{FF2B5EF4-FFF2-40B4-BE49-F238E27FC236}">
                <a16:creationId xmlns:a16="http://schemas.microsoft.com/office/drawing/2014/main" id="{CB25FD58-7D51-4172-3237-D3DA7EBEC1CA}"/>
              </a:ext>
            </a:extLst>
          </p:cNvPr>
          <p:cNvSpPr/>
          <p:nvPr/>
        </p:nvSpPr>
        <p:spPr>
          <a:xfrm>
            <a:off x="527336" y="1274400"/>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accent1">
              <a:lumMod val="20000"/>
              <a:lumOff val="80000"/>
              <a:alpha val="50000"/>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24">
            <a:extLst>
              <a:ext uri="{FF2B5EF4-FFF2-40B4-BE49-F238E27FC236}">
                <a16:creationId xmlns:a16="http://schemas.microsoft.com/office/drawing/2014/main" id="{97334313-0DCA-064E-DE21-E60AA3EE4783}"/>
              </a:ext>
            </a:extLst>
          </p:cNvPr>
          <p:cNvGrpSpPr>
            <a:grpSpLocks noChangeAspect="1"/>
          </p:cNvGrpSpPr>
          <p:nvPr/>
        </p:nvGrpSpPr>
        <p:grpSpPr>
          <a:xfrm>
            <a:off x="719018" y="1390545"/>
            <a:ext cx="1728000" cy="1495711"/>
            <a:chOff x="5096920" y="3386757"/>
            <a:chExt cx="4321315" cy="3742090"/>
          </a:xfrm>
        </p:grpSpPr>
        <p:grpSp>
          <p:nvGrpSpPr>
            <p:cNvPr id="18" name="Group 25">
              <a:extLst>
                <a:ext uri="{FF2B5EF4-FFF2-40B4-BE49-F238E27FC236}">
                  <a16:creationId xmlns:a16="http://schemas.microsoft.com/office/drawing/2014/main" id="{C6EC6ADA-09E3-EEC4-A4DB-44A3AED10826}"/>
                </a:ext>
              </a:extLst>
            </p:cNvPr>
            <p:cNvGrpSpPr/>
            <p:nvPr/>
          </p:nvGrpSpPr>
          <p:grpSpPr>
            <a:xfrm>
              <a:off x="5096920" y="3386757"/>
              <a:ext cx="4321315" cy="3742090"/>
              <a:chOff x="6637198" y="3500440"/>
              <a:chExt cx="3071935" cy="3042000"/>
            </a:xfrm>
          </p:grpSpPr>
          <p:pic>
            <p:nvPicPr>
              <p:cNvPr id="22" name="Graphic 29" descr="Cloud with solid fill">
                <a:extLst>
                  <a:ext uri="{FF2B5EF4-FFF2-40B4-BE49-F238E27FC236}">
                    <a16:creationId xmlns:a16="http://schemas.microsoft.com/office/drawing/2014/main" id="{9EC4E47A-C694-2C3D-ACB3-18985BE979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67133" y="3500440"/>
                <a:ext cx="3042000" cy="3042000"/>
              </a:xfrm>
              <a:prstGeom prst="rect">
                <a:avLst/>
              </a:prstGeom>
            </p:spPr>
          </p:pic>
          <p:pic>
            <p:nvPicPr>
              <p:cNvPr id="32" name="Graphic 30" descr="Cloud outline">
                <a:extLst>
                  <a:ext uri="{FF2B5EF4-FFF2-40B4-BE49-F238E27FC236}">
                    <a16:creationId xmlns:a16="http://schemas.microsoft.com/office/drawing/2014/main" id="{FF36AF85-7176-3AD8-D896-C65AD7E280A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37198" y="3500440"/>
                <a:ext cx="3042000" cy="3042000"/>
              </a:xfrm>
              <a:prstGeom prst="rect">
                <a:avLst/>
              </a:prstGeom>
            </p:spPr>
          </p:pic>
        </p:grpSp>
        <p:pic>
          <p:nvPicPr>
            <p:cNvPr id="19" name="Graphic 26">
              <a:extLst>
                <a:ext uri="{FF2B5EF4-FFF2-40B4-BE49-F238E27FC236}">
                  <a16:creationId xmlns:a16="http://schemas.microsoft.com/office/drawing/2014/main" id="{AE9F7DD1-79DD-9343-8CC1-31712D9EEE4B}"/>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0856" y="5186362"/>
              <a:ext cx="811406" cy="800291"/>
            </a:xfrm>
            <a:prstGeom prst="rect">
              <a:avLst/>
            </a:prstGeom>
          </p:spPr>
        </p:pic>
        <p:pic>
          <p:nvPicPr>
            <p:cNvPr id="20" name="Graphic 27">
              <a:extLst>
                <a:ext uri="{FF2B5EF4-FFF2-40B4-BE49-F238E27FC236}">
                  <a16:creationId xmlns:a16="http://schemas.microsoft.com/office/drawing/2014/main" id="{BB6C8C4D-5644-4306-9022-308A79A78EF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75966" y="4320973"/>
              <a:ext cx="1512000" cy="1512000"/>
            </a:xfrm>
            <a:prstGeom prst="rect">
              <a:avLst/>
            </a:prstGeom>
          </p:spPr>
        </p:pic>
        <p:pic>
          <p:nvPicPr>
            <p:cNvPr id="21" name="Graphic 28">
              <a:extLst>
                <a:ext uri="{FF2B5EF4-FFF2-40B4-BE49-F238E27FC236}">
                  <a16:creationId xmlns:a16="http://schemas.microsoft.com/office/drawing/2014/main" id="{20ADB816-8516-1441-56E6-C79FF2ADB2D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66824" y="5076973"/>
              <a:ext cx="1080000" cy="1080000"/>
            </a:xfrm>
            <a:prstGeom prst="rect">
              <a:avLst/>
            </a:prstGeom>
          </p:spPr>
        </p:pic>
      </p:grpSp>
      <p:grpSp>
        <p:nvGrpSpPr>
          <p:cNvPr id="33" name="Group 42">
            <a:extLst>
              <a:ext uri="{FF2B5EF4-FFF2-40B4-BE49-F238E27FC236}">
                <a16:creationId xmlns:a16="http://schemas.microsoft.com/office/drawing/2014/main" id="{BFF32079-C57C-F332-6B44-351A6AB62CAB}"/>
              </a:ext>
            </a:extLst>
          </p:cNvPr>
          <p:cNvGrpSpPr/>
          <p:nvPr/>
        </p:nvGrpSpPr>
        <p:grpSpPr>
          <a:xfrm>
            <a:off x="3761410" y="1773979"/>
            <a:ext cx="4993873" cy="728843"/>
            <a:chOff x="4009104" y="2354854"/>
            <a:chExt cx="4993873" cy="728843"/>
          </a:xfrm>
        </p:grpSpPr>
        <p:cxnSp>
          <p:nvCxnSpPr>
            <p:cNvPr id="36" name="Straight Connector 50">
              <a:extLst>
                <a:ext uri="{FF2B5EF4-FFF2-40B4-BE49-F238E27FC236}">
                  <a16:creationId xmlns:a16="http://schemas.microsoft.com/office/drawing/2014/main" id="{B6AC77B7-BDCE-0FBB-90DA-5D59177FB52E}"/>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7" name="Straight Connector 51">
              <a:extLst>
                <a:ext uri="{FF2B5EF4-FFF2-40B4-BE49-F238E27FC236}">
                  <a16:creationId xmlns:a16="http://schemas.microsoft.com/office/drawing/2014/main" id="{3589D721-2073-BE5C-F315-3D65FF5E5B82}"/>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8" name="Straight Connector 52">
              <a:extLst>
                <a:ext uri="{FF2B5EF4-FFF2-40B4-BE49-F238E27FC236}">
                  <a16:creationId xmlns:a16="http://schemas.microsoft.com/office/drawing/2014/main" id="{899AAB4D-2472-313B-8D0E-A121AB0B4E54}"/>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39" name="Oval 53">
              <a:extLst>
                <a:ext uri="{FF2B5EF4-FFF2-40B4-BE49-F238E27FC236}">
                  <a16:creationId xmlns:a16="http://schemas.microsoft.com/office/drawing/2014/main" id="{828F7FC1-D31B-F1DB-9F32-ADE6FAC24503}"/>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54">
              <a:extLst>
                <a:ext uri="{FF2B5EF4-FFF2-40B4-BE49-F238E27FC236}">
                  <a16:creationId xmlns:a16="http://schemas.microsoft.com/office/drawing/2014/main" id="{3F3A324A-8F7B-574B-7B65-3F33837EA4A1}"/>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48">
              <a:extLst>
                <a:ext uri="{FF2B5EF4-FFF2-40B4-BE49-F238E27FC236}">
                  <a16:creationId xmlns:a16="http://schemas.microsoft.com/office/drawing/2014/main" id="{7DB7B60D-BE26-B518-ED2C-4648FDE937FB}"/>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49">
              <a:extLst>
                <a:ext uri="{FF2B5EF4-FFF2-40B4-BE49-F238E27FC236}">
                  <a16:creationId xmlns:a16="http://schemas.microsoft.com/office/drawing/2014/main" id="{3D6936FC-7DC9-ECF4-D982-C1B568CA458A}"/>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41" name="Grafik 40">
            <a:extLst>
              <a:ext uri="{FF2B5EF4-FFF2-40B4-BE49-F238E27FC236}">
                <a16:creationId xmlns:a16="http://schemas.microsoft.com/office/drawing/2014/main" id="{3C017583-E87E-B323-6F0F-BFE8A2E74AFE}"/>
              </a:ext>
            </a:extLst>
          </p:cNvPr>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2057220" y="1475132"/>
            <a:ext cx="720000" cy="720000"/>
          </a:xfrm>
          <a:prstGeom prst="rect">
            <a:avLst/>
          </a:prstGeom>
        </p:spPr>
      </p:pic>
      <p:sp>
        <p:nvSpPr>
          <p:cNvPr id="77" name="Down Arrow 71">
            <a:extLst>
              <a:ext uri="{FF2B5EF4-FFF2-40B4-BE49-F238E27FC236}">
                <a16:creationId xmlns:a16="http://schemas.microsoft.com/office/drawing/2014/main" id="{1F3CDA1B-5044-BD2B-A92F-F27D7C711EB7}"/>
              </a:ext>
            </a:extLst>
          </p:cNvPr>
          <p:cNvSpPr/>
          <p:nvPr/>
        </p:nvSpPr>
        <p:spPr>
          <a:xfrm>
            <a:off x="9126893" y="2505295"/>
            <a:ext cx="1130157" cy="1524426"/>
          </a:xfrm>
          <a:prstGeom prst="downArrow">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dirty="0">
                <a:solidFill>
                  <a:schemeClr val="bg1"/>
                </a:solidFill>
              </a:rPr>
              <a:t>Fork</a:t>
            </a:r>
          </a:p>
        </p:txBody>
      </p:sp>
    </p:spTree>
    <p:extLst>
      <p:ext uri="{BB962C8B-B14F-4D97-AF65-F5344CB8AC3E}">
        <p14:creationId xmlns:p14="http://schemas.microsoft.com/office/powerpoint/2010/main" val="1384398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72" grpId="0" animBg="1"/>
      <p:bldP spid="7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D4A16-9122-D5AD-3902-6321BA5F95F6}"/>
              </a:ext>
            </a:extLst>
          </p:cNvPr>
          <p:cNvSpPr>
            <a:spLocks noGrp="1"/>
          </p:cNvSpPr>
          <p:nvPr>
            <p:ph type="title"/>
          </p:nvPr>
        </p:nvSpPr>
        <p:spPr/>
        <p:txBody>
          <a:bodyPr/>
          <a:lstStyle/>
          <a:p>
            <a:r>
              <a:rPr lang="en-US" dirty="0"/>
              <a:t>Let’s walk through how this works</a:t>
            </a:r>
          </a:p>
        </p:txBody>
      </p:sp>
      <p:sp>
        <p:nvSpPr>
          <p:cNvPr id="14" name="Rectangle 13">
            <a:extLst>
              <a:ext uri="{FF2B5EF4-FFF2-40B4-BE49-F238E27FC236}">
                <a16:creationId xmlns:a16="http://schemas.microsoft.com/office/drawing/2014/main" id="{03E7BBAB-55FB-0996-D4F5-0F6CF1415505}"/>
              </a:ext>
            </a:extLst>
          </p:cNvPr>
          <p:cNvSpPr/>
          <p:nvPr/>
        </p:nvSpPr>
        <p:spPr>
          <a:xfrm>
            <a:off x="527337" y="3148952"/>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accent1">
              <a:lumMod val="20000"/>
              <a:lumOff val="80000"/>
              <a:alpha val="50000"/>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3AF21F2-AA39-023B-A19C-8DEDACAF58BA}"/>
              </a:ext>
            </a:extLst>
          </p:cNvPr>
          <p:cNvSpPr/>
          <p:nvPr/>
        </p:nvSpPr>
        <p:spPr>
          <a:xfrm>
            <a:off x="527336" y="5058000"/>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bg1">
              <a:lumMod val="85000"/>
              <a:alpha val="50000"/>
            </a:schemeClr>
          </a:solidFill>
          <a:ln w="28575">
            <a:solidFill>
              <a:schemeClr val="bg2">
                <a:lumMod val="50000"/>
              </a:schemeClr>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descr="Programmer male outline">
            <a:extLst>
              <a:ext uri="{FF2B5EF4-FFF2-40B4-BE49-F238E27FC236}">
                <a16:creationId xmlns:a16="http://schemas.microsoft.com/office/drawing/2014/main" id="{C8D125EE-A9B8-DE35-24C6-2E5ED12AF9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2219" y="5281200"/>
            <a:ext cx="1281600" cy="1281600"/>
          </a:xfrm>
          <a:prstGeom prst="rect">
            <a:avLst/>
          </a:prstGeom>
        </p:spPr>
      </p:pic>
      <p:grpSp>
        <p:nvGrpSpPr>
          <p:cNvPr id="25" name="Group 24">
            <a:extLst>
              <a:ext uri="{FF2B5EF4-FFF2-40B4-BE49-F238E27FC236}">
                <a16:creationId xmlns:a16="http://schemas.microsoft.com/office/drawing/2014/main" id="{3B9359CC-AD07-FFCA-6EA7-B72C098A8BF5}"/>
              </a:ext>
            </a:extLst>
          </p:cNvPr>
          <p:cNvGrpSpPr>
            <a:grpSpLocks noChangeAspect="1"/>
          </p:cNvGrpSpPr>
          <p:nvPr/>
        </p:nvGrpSpPr>
        <p:grpSpPr>
          <a:xfrm>
            <a:off x="719019" y="3265097"/>
            <a:ext cx="1728000" cy="1495711"/>
            <a:chOff x="5096920" y="3386757"/>
            <a:chExt cx="4321315" cy="3742090"/>
          </a:xfrm>
        </p:grpSpPr>
        <p:grpSp>
          <p:nvGrpSpPr>
            <p:cNvPr id="26" name="Group 25">
              <a:extLst>
                <a:ext uri="{FF2B5EF4-FFF2-40B4-BE49-F238E27FC236}">
                  <a16:creationId xmlns:a16="http://schemas.microsoft.com/office/drawing/2014/main" id="{4C7FD76A-D956-DBD6-D080-A289C208BBB1}"/>
                </a:ext>
              </a:extLst>
            </p:cNvPr>
            <p:cNvGrpSpPr/>
            <p:nvPr/>
          </p:nvGrpSpPr>
          <p:grpSpPr>
            <a:xfrm>
              <a:off x="5096920" y="3386757"/>
              <a:ext cx="4321315" cy="3742090"/>
              <a:chOff x="6637198" y="3500440"/>
              <a:chExt cx="3071935" cy="3042000"/>
            </a:xfrm>
          </p:grpSpPr>
          <p:pic>
            <p:nvPicPr>
              <p:cNvPr id="30" name="Graphic 29" descr="Cloud with solid fill">
                <a:extLst>
                  <a:ext uri="{FF2B5EF4-FFF2-40B4-BE49-F238E27FC236}">
                    <a16:creationId xmlns:a16="http://schemas.microsoft.com/office/drawing/2014/main" id="{3CD511FF-DEAA-6075-400C-06912677F28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67133" y="3500440"/>
                <a:ext cx="3042000" cy="3042000"/>
              </a:xfrm>
              <a:prstGeom prst="rect">
                <a:avLst/>
              </a:prstGeom>
            </p:spPr>
          </p:pic>
          <p:pic>
            <p:nvPicPr>
              <p:cNvPr id="31" name="Graphic 30" descr="Cloud outline">
                <a:extLst>
                  <a:ext uri="{FF2B5EF4-FFF2-40B4-BE49-F238E27FC236}">
                    <a16:creationId xmlns:a16="http://schemas.microsoft.com/office/drawing/2014/main" id="{72583E36-C879-E68E-1DFA-425657956CD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37198" y="3500440"/>
                <a:ext cx="3042000" cy="3042000"/>
              </a:xfrm>
              <a:prstGeom prst="rect">
                <a:avLst/>
              </a:prstGeom>
            </p:spPr>
          </p:pic>
        </p:grpSp>
        <p:pic>
          <p:nvPicPr>
            <p:cNvPr id="27" name="Graphic 26">
              <a:extLst>
                <a:ext uri="{FF2B5EF4-FFF2-40B4-BE49-F238E27FC236}">
                  <a16:creationId xmlns:a16="http://schemas.microsoft.com/office/drawing/2014/main" id="{A195006E-2729-8AE5-FCB9-FC270C8A892A}"/>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0856" y="5186362"/>
              <a:ext cx="811406" cy="800291"/>
            </a:xfrm>
            <a:prstGeom prst="rect">
              <a:avLst/>
            </a:prstGeom>
          </p:spPr>
        </p:pic>
        <p:pic>
          <p:nvPicPr>
            <p:cNvPr id="28" name="Graphic 27">
              <a:extLst>
                <a:ext uri="{FF2B5EF4-FFF2-40B4-BE49-F238E27FC236}">
                  <a16:creationId xmlns:a16="http://schemas.microsoft.com/office/drawing/2014/main" id="{260CD8F4-0805-CAF0-2798-D5A3DDBCBCA0}"/>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75966" y="4320973"/>
              <a:ext cx="1512000" cy="1512000"/>
            </a:xfrm>
            <a:prstGeom prst="rect">
              <a:avLst/>
            </a:prstGeom>
          </p:spPr>
        </p:pic>
        <p:pic>
          <p:nvPicPr>
            <p:cNvPr id="29" name="Graphic 28">
              <a:extLst>
                <a:ext uri="{FF2B5EF4-FFF2-40B4-BE49-F238E27FC236}">
                  <a16:creationId xmlns:a16="http://schemas.microsoft.com/office/drawing/2014/main" id="{BF425918-96B5-2E47-6B70-EA9ADB4CBBB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66824" y="5076973"/>
              <a:ext cx="1080000" cy="1080000"/>
            </a:xfrm>
            <a:prstGeom prst="rect">
              <a:avLst/>
            </a:prstGeom>
          </p:spPr>
        </p:pic>
      </p:grpSp>
      <p:grpSp>
        <p:nvGrpSpPr>
          <p:cNvPr id="43" name="Group 42">
            <a:extLst>
              <a:ext uri="{FF2B5EF4-FFF2-40B4-BE49-F238E27FC236}">
                <a16:creationId xmlns:a16="http://schemas.microsoft.com/office/drawing/2014/main" id="{0BD267D0-94DA-856F-4F81-BA07F67727A3}"/>
              </a:ext>
            </a:extLst>
          </p:cNvPr>
          <p:cNvGrpSpPr>
            <a:grpSpLocks noChangeAspect="1"/>
          </p:cNvGrpSpPr>
          <p:nvPr/>
        </p:nvGrpSpPr>
        <p:grpSpPr>
          <a:xfrm>
            <a:off x="3761411" y="3648531"/>
            <a:ext cx="3946626" cy="576000"/>
            <a:chOff x="4009104" y="2354854"/>
            <a:chExt cx="4993873" cy="728843"/>
          </a:xfrm>
        </p:grpSpPr>
        <p:cxnSp>
          <p:nvCxnSpPr>
            <p:cNvPr id="51" name="Straight Connector 50">
              <a:extLst>
                <a:ext uri="{FF2B5EF4-FFF2-40B4-BE49-F238E27FC236}">
                  <a16:creationId xmlns:a16="http://schemas.microsoft.com/office/drawing/2014/main" id="{EF8E39D8-E832-1735-F732-94138716578B}"/>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B1B7D50C-B5A2-F066-2EC6-1B07FE075AF8}"/>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E6376BAE-FCAE-5CE9-5AEB-0CC5E6686919}"/>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54" name="Oval 53">
              <a:extLst>
                <a:ext uri="{FF2B5EF4-FFF2-40B4-BE49-F238E27FC236}">
                  <a16:creationId xmlns:a16="http://schemas.microsoft.com/office/drawing/2014/main" id="{5F44DB56-4DA7-51E0-BA5A-CD0F27B3649E}"/>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Oval 54">
              <a:extLst>
                <a:ext uri="{FF2B5EF4-FFF2-40B4-BE49-F238E27FC236}">
                  <a16:creationId xmlns:a16="http://schemas.microsoft.com/office/drawing/2014/main" id="{163D1117-D227-392A-F2AB-59F34DF45161}"/>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a:extLst>
                <a:ext uri="{FF2B5EF4-FFF2-40B4-BE49-F238E27FC236}">
                  <a16:creationId xmlns:a16="http://schemas.microsoft.com/office/drawing/2014/main" id="{AC0E5946-61DE-3240-2F4F-F9897BF08B20}"/>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016C4E93-B3D4-65E5-810C-0062DB420D57}"/>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Rectangle 13">
            <a:extLst>
              <a:ext uri="{FF2B5EF4-FFF2-40B4-BE49-F238E27FC236}">
                <a16:creationId xmlns:a16="http://schemas.microsoft.com/office/drawing/2014/main" id="{CB25FD58-7D51-4172-3237-D3DA7EBEC1CA}"/>
              </a:ext>
            </a:extLst>
          </p:cNvPr>
          <p:cNvSpPr/>
          <p:nvPr/>
        </p:nvSpPr>
        <p:spPr>
          <a:xfrm>
            <a:off x="527336" y="1274400"/>
            <a:ext cx="10543439" cy="1728000"/>
          </a:xfrm>
          <a:custGeom>
            <a:avLst/>
            <a:gdLst>
              <a:gd name="connsiteX0" fmla="*/ 0 w 10543439"/>
              <a:gd name="connsiteY0" fmla="*/ 0 h 1728000"/>
              <a:gd name="connsiteX1" fmla="*/ 342662 w 10543439"/>
              <a:gd name="connsiteY1" fmla="*/ 0 h 1728000"/>
              <a:gd name="connsiteX2" fmla="*/ 1212495 w 10543439"/>
              <a:gd name="connsiteY2" fmla="*/ 0 h 1728000"/>
              <a:gd name="connsiteX3" fmla="*/ 1871460 w 10543439"/>
              <a:gd name="connsiteY3" fmla="*/ 0 h 1728000"/>
              <a:gd name="connsiteX4" fmla="*/ 2214122 w 10543439"/>
              <a:gd name="connsiteY4" fmla="*/ 0 h 1728000"/>
              <a:gd name="connsiteX5" fmla="*/ 2873087 w 10543439"/>
              <a:gd name="connsiteY5" fmla="*/ 0 h 1728000"/>
              <a:gd name="connsiteX6" fmla="*/ 3742921 w 10543439"/>
              <a:gd name="connsiteY6" fmla="*/ 0 h 1728000"/>
              <a:gd name="connsiteX7" fmla="*/ 4296451 w 10543439"/>
              <a:gd name="connsiteY7" fmla="*/ 0 h 1728000"/>
              <a:gd name="connsiteX8" fmla="*/ 4849982 w 10543439"/>
              <a:gd name="connsiteY8" fmla="*/ 0 h 1728000"/>
              <a:gd name="connsiteX9" fmla="*/ 5508947 w 10543439"/>
              <a:gd name="connsiteY9" fmla="*/ 0 h 1728000"/>
              <a:gd name="connsiteX10" fmla="*/ 6273346 w 10543439"/>
              <a:gd name="connsiteY10" fmla="*/ 0 h 1728000"/>
              <a:gd name="connsiteX11" fmla="*/ 7037746 w 10543439"/>
              <a:gd name="connsiteY11" fmla="*/ 0 h 1728000"/>
              <a:gd name="connsiteX12" fmla="*/ 7802145 w 10543439"/>
              <a:gd name="connsiteY12" fmla="*/ 0 h 1728000"/>
              <a:gd name="connsiteX13" fmla="*/ 8671979 w 10543439"/>
              <a:gd name="connsiteY13" fmla="*/ 0 h 1728000"/>
              <a:gd name="connsiteX14" fmla="*/ 9330944 w 10543439"/>
              <a:gd name="connsiteY14" fmla="*/ 0 h 1728000"/>
              <a:gd name="connsiteX15" fmla="*/ 10543439 w 10543439"/>
              <a:gd name="connsiteY15" fmla="*/ 0 h 1728000"/>
              <a:gd name="connsiteX16" fmla="*/ 10543439 w 10543439"/>
              <a:gd name="connsiteY16" fmla="*/ 576000 h 1728000"/>
              <a:gd name="connsiteX17" fmla="*/ 10543439 w 10543439"/>
              <a:gd name="connsiteY17" fmla="*/ 1186560 h 1728000"/>
              <a:gd name="connsiteX18" fmla="*/ 10543439 w 10543439"/>
              <a:gd name="connsiteY18" fmla="*/ 1728000 h 1728000"/>
              <a:gd name="connsiteX19" fmla="*/ 9673605 w 10543439"/>
              <a:gd name="connsiteY19" fmla="*/ 1728000 h 1728000"/>
              <a:gd name="connsiteX20" fmla="*/ 9120075 w 10543439"/>
              <a:gd name="connsiteY20" fmla="*/ 1728000 h 1728000"/>
              <a:gd name="connsiteX21" fmla="*/ 8566544 w 10543439"/>
              <a:gd name="connsiteY21" fmla="*/ 1728000 h 1728000"/>
              <a:gd name="connsiteX22" fmla="*/ 8013014 w 10543439"/>
              <a:gd name="connsiteY22" fmla="*/ 1728000 h 1728000"/>
              <a:gd name="connsiteX23" fmla="*/ 7248614 w 10543439"/>
              <a:gd name="connsiteY23" fmla="*/ 1728000 h 1728000"/>
              <a:gd name="connsiteX24" fmla="*/ 6589649 w 10543439"/>
              <a:gd name="connsiteY24" fmla="*/ 1728000 h 1728000"/>
              <a:gd name="connsiteX25" fmla="*/ 6246988 w 10543439"/>
              <a:gd name="connsiteY25" fmla="*/ 1728000 h 1728000"/>
              <a:gd name="connsiteX26" fmla="*/ 5693457 w 10543439"/>
              <a:gd name="connsiteY26" fmla="*/ 1728000 h 1728000"/>
              <a:gd name="connsiteX27" fmla="*/ 4929058 w 10543439"/>
              <a:gd name="connsiteY27" fmla="*/ 1728000 h 1728000"/>
              <a:gd name="connsiteX28" fmla="*/ 4480962 w 10543439"/>
              <a:gd name="connsiteY28" fmla="*/ 1728000 h 1728000"/>
              <a:gd name="connsiteX29" fmla="*/ 3611128 w 10543439"/>
              <a:gd name="connsiteY29" fmla="*/ 1728000 h 1728000"/>
              <a:gd name="connsiteX30" fmla="*/ 2741294 w 10543439"/>
              <a:gd name="connsiteY30" fmla="*/ 1728000 h 1728000"/>
              <a:gd name="connsiteX31" fmla="*/ 2082329 w 10543439"/>
              <a:gd name="connsiteY31" fmla="*/ 1728000 h 1728000"/>
              <a:gd name="connsiteX32" fmla="*/ 1212495 w 10543439"/>
              <a:gd name="connsiteY32" fmla="*/ 1728000 h 1728000"/>
              <a:gd name="connsiteX33" fmla="*/ 0 w 10543439"/>
              <a:gd name="connsiteY33" fmla="*/ 1728000 h 1728000"/>
              <a:gd name="connsiteX34" fmla="*/ 0 w 10543439"/>
              <a:gd name="connsiteY34" fmla="*/ 1134720 h 1728000"/>
              <a:gd name="connsiteX35" fmla="*/ 0 w 10543439"/>
              <a:gd name="connsiteY35" fmla="*/ 593280 h 1728000"/>
              <a:gd name="connsiteX36" fmla="*/ 0 w 10543439"/>
              <a:gd name="connsiteY36" fmla="*/ 0 h 17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543439" h="1728000" fill="none" extrusionOk="0">
                <a:moveTo>
                  <a:pt x="0" y="0"/>
                </a:moveTo>
                <a:cubicBezTo>
                  <a:pt x="114453" y="-16975"/>
                  <a:pt x="171939" y="11258"/>
                  <a:pt x="342662" y="0"/>
                </a:cubicBezTo>
                <a:cubicBezTo>
                  <a:pt x="513385" y="-11258"/>
                  <a:pt x="915229" y="39974"/>
                  <a:pt x="1212495" y="0"/>
                </a:cubicBezTo>
                <a:cubicBezTo>
                  <a:pt x="1509761" y="-39974"/>
                  <a:pt x="1681741" y="-29552"/>
                  <a:pt x="1871460" y="0"/>
                </a:cubicBezTo>
                <a:cubicBezTo>
                  <a:pt x="2061180" y="29552"/>
                  <a:pt x="2055376" y="-12934"/>
                  <a:pt x="2214122" y="0"/>
                </a:cubicBezTo>
                <a:cubicBezTo>
                  <a:pt x="2372868" y="12934"/>
                  <a:pt x="2708218" y="15873"/>
                  <a:pt x="2873087" y="0"/>
                </a:cubicBezTo>
                <a:cubicBezTo>
                  <a:pt x="3037956" y="-15873"/>
                  <a:pt x="3536186" y="43435"/>
                  <a:pt x="3742921" y="0"/>
                </a:cubicBezTo>
                <a:cubicBezTo>
                  <a:pt x="3949656" y="-43435"/>
                  <a:pt x="4169686" y="-880"/>
                  <a:pt x="4296451" y="0"/>
                </a:cubicBezTo>
                <a:cubicBezTo>
                  <a:pt x="4423216" y="880"/>
                  <a:pt x="4715415" y="-4081"/>
                  <a:pt x="4849982" y="0"/>
                </a:cubicBezTo>
                <a:cubicBezTo>
                  <a:pt x="4984549" y="4081"/>
                  <a:pt x="5203686" y="18649"/>
                  <a:pt x="5508947" y="0"/>
                </a:cubicBezTo>
                <a:cubicBezTo>
                  <a:pt x="5814209" y="-18649"/>
                  <a:pt x="5954387" y="28976"/>
                  <a:pt x="6273346" y="0"/>
                </a:cubicBezTo>
                <a:cubicBezTo>
                  <a:pt x="6592305" y="-28976"/>
                  <a:pt x="6774731" y="36393"/>
                  <a:pt x="7037746" y="0"/>
                </a:cubicBezTo>
                <a:cubicBezTo>
                  <a:pt x="7300761" y="-36393"/>
                  <a:pt x="7509126" y="18924"/>
                  <a:pt x="7802145" y="0"/>
                </a:cubicBezTo>
                <a:cubicBezTo>
                  <a:pt x="8095164" y="-18924"/>
                  <a:pt x="8365376" y="-12428"/>
                  <a:pt x="8671979" y="0"/>
                </a:cubicBezTo>
                <a:cubicBezTo>
                  <a:pt x="8978582" y="12428"/>
                  <a:pt x="9049581" y="22038"/>
                  <a:pt x="9330944" y="0"/>
                </a:cubicBezTo>
                <a:cubicBezTo>
                  <a:pt x="9612308" y="-22038"/>
                  <a:pt x="9983256" y="-17485"/>
                  <a:pt x="10543439" y="0"/>
                </a:cubicBezTo>
                <a:cubicBezTo>
                  <a:pt x="10524205" y="272019"/>
                  <a:pt x="10541558" y="399696"/>
                  <a:pt x="10543439" y="576000"/>
                </a:cubicBezTo>
                <a:cubicBezTo>
                  <a:pt x="10545320" y="752304"/>
                  <a:pt x="10565489" y="1049199"/>
                  <a:pt x="10543439" y="1186560"/>
                </a:cubicBezTo>
                <a:cubicBezTo>
                  <a:pt x="10521389" y="1323921"/>
                  <a:pt x="10530602" y="1523366"/>
                  <a:pt x="10543439" y="1728000"/>
                </a:cubicBezTo>
                <a:cubicBezTo>
                  <a:pt x="10115099" y="1752770"/>
                  <a:pt x="10106806" y="1755330"/>
                  <a:pt x="9673605" y="1728000"/>
                </a:cubicBezTo>
                <a:cubicBezTo>
                  <a:pt x="9240404" y="1700670"/>
                  <a:pt x="9250141" y="1731188"/>
                  <a:pt x="9120075" y="1728000"/>
                </a:cubicBezTo>
                <a:cubicBezTo>
                  <a:pt x="8990009" y="1724813"/>
                  <a:pt x="8733382" y="1707158"/>
                  <a:pt x="8566544" y="1728000"/>
                </a:cubicBezTo>
                <a:cubicBezTo>
                  <a:pt x="8399706" y="1748842"/>
                  <a:pt x="8221137" y="1729914"/>
                  <a:pt x="8013014" y="1728000"/>
                </a:cubicBezTo>
                <a:cubicBezTo>
                  <a:pt x="7804891" y="1726087"/>
                  <a:pt x="7570114" y="1749026"/>
                  <a:pt x="7248614" y="1728000"/>
                </a:cubicBezTo>
                <a:cubicBezTo>
                  <a:pt x="6927114" y="1706974"/>
                  <a:pt x="6867055" y="1725950"/>
                  <a:pt x="6589649" y="1728000"/>
                </a:cubicBezTo>
                <a:cubicBezTo>
                  <a:pt x="6312244" y="1730050"/>
                  <a:pt x="6341925" y="1721514"/>
                  <a:pt x="6246988" y="1728000"/>
                </a:cubicBezTo>
                <a:cubicBezTo>
                  <a:pt x="6152051" y="1734486"/>
                  <a:pt x="5852321" y="1714865"/>
                  <a:pt x="5693457" y="1728000"/>
                </a:cubicBezTo>
                <a:cubicBezTo>
                  <a:pt x="5534593" y="1741135"/>
                  <a:pt x="5218388" y="1705848"/>
                  <a:pt x="4929058" y="1728000"/>
                </a:cubicBezTo>
                <a:cubicBezTo>
                  <a:pt x="4639728" y="1750152"/>
                  <a:pt x="4584895" y="1749248"/>
                  <a:pt x="4480962" y="1728000"/>
                </a:cubicBezTo>
                <a:cubicBezTo>
                  <a:pt x="4377029" y="1706752"/>
                  <a:pt x="3934332" y="1717252"/>
                  <a:pt x="3611128" y="1728000"/>
                </a:cubicBezTo>
                <a:cubicBezTo>
                  <a:pt x="3287924" y="1738748"/>
                  <a:pt x="3114054" y="1724738"/>
                  <a:pt x="2741294" y="1728000"/>
                </a:cubicBezTo>
                <a:cubicBezTo>
                  <a:pt x="2368534" y="1731262"/>
                  <a:pt x="2286957" y="1740537"/>
                  <a:pt x="2082329" y="1728000"/>
                </a:cubicBezTo>
                <a:cubicBezTo>
                  <a:pt x="1877701" y="1715463"/>
                  <a:pt x="1444862" y="1735148"/>
                  <a:pt x="1212495" y="1728000"/>
                </a:cubicBezTo>
                <a:cubicBezTo>
                  <a:pt x="980128" y="1720852"/>
                  <a:pt x="329628" y="1745822"/>
                  <a:pt x="0" y="1728000"/>
                </a:cubicBezTo>
                <a:cubicBezTo>
                  <a:pt x="15547" y="1522203"/>
                  <a:pt x="-25291" y="1271193"/>
                  <a:pt x="0" y="1134720"/>
                </a:cubicBezTo>
                <a:cubicBezTo>
                  <a:pt x="25291" y="998247"/>
                  <a:pt x="-13212" y="850152"/>
                  <a:pt x="0" y="593280"/>
                </a:cubicBezTo>
                <a:cubicBezTo>
                  <a:pt x="13212" y="336408"/>
                  <a:pt x="21797" y="276663"/>
                  <a:pt x="0" y="0"/>
                </a:cubicBezTo>
                <a:close/>
              </a:path>
              <a:path w="10543439" h="1728000" stroke="0" extrusionOk="0">
                <a:moveTo>
                  <a:pt x="0" y="0"/>
                </a:moveTo>
                <a:cubicBezTo>
                  <a:pt x="248317" y="-27262"/>
                  <a:pt x="365154" y="-11174"/>
                  <a:pt x="553531" y="0"/>
                </a:cubicBezTo>
                <a:cubicBezTo>
                  <a:pt x="741908" y="11174"/>
                  <a:pt x="726600" y="8507"/>
                  <a:pt x="896192" y="0"/>
                </a:cubicBezTo>
                <a:cubicBezTo>
                  <a:pt x="1065784" y="-8507"/>
                  <a:pt x="1567721" y="41811"/>
                  <a:pt x="1766026" y="0"/>
                </a:cubicBezTo>
                <a:cubicBezTo>
                  <a:pt x="1964331" y="-41811"/>
                  <a:pt x="2134499" y="-21012"/>
                  <a:pt x="2319557" y="0"/>
                </a:cubicBezTo>
                <a:cubicBezTo>
                  <a:pt x="2504615" y="21012"/>
                  <a:pt x="2704842" y="-1618"/>
                  <a:pt x="2873087" y="0"/>
                </a:cubicBezTo>
                <a:cubicBezTo>
                  <a:pt x="3041332" y="1618"/>
                  <a:pt x="3460218" y="-1611"/>
                  <a:pt x="3742921" y="0"/>
                </a:cubicBezTo>
                <a:cubicBezTo>
                  <a:pt x="4025624" y="1611"/>
                  <a:pt x="3980234" y="-15219"/>
                  <a:pt x="4191017" y="0"/>
                </a:cubicBezTo>
                <a:cubicBezTo>
                  <a:pt x="4401800" y="15219"/>
                  <a:pt x="4810520" y="5844"/>
                  <a:pt x="5060851" y="0"/>
                </a:cubicBezTo>
                <a:cubicBezTo>
                  <a:pt x="5311182" y="-5844"/>
                  <a:pt x="5587826" y="-22213"/>
                  <a:pt x="5930684" y="0"/>
                </a:cubicBezTo>
                <a:cubicBezTo>
                  <a:pt x="6273542" y="22213"/>
                  <a:pt x="6410617" y="1955"/>
                  <a:pt x="6589649" y="0"/>
                </a:cubicBezTo>
                <a:cubicBezTo>
                  <a:pt x="6768681" y="-1955"/>
                  <a:pt x="7110659" y="17002"/>
                  <a:pt x="7459483" y="0"/>
                </a:cubicBezTo>
                <a:cubicBezTo>
                  <a:pt x="7808307" y="-17002"/>
                  <a:pt x="7739148" y="-7340"/>
                  <a:pt x="8013014" y="0"/>
                </a:cubicBezTo>
                <a:cubicBezTo>
                  <a:pt x="8286880" y="7340"/>
                  <a:pt x="8439933" y="-12620"/>
                  <a:pt x="8566544" y="0"/>
                </a:cubicBezTo>
                <a:cubicBezTo>
                  <a:pt x="8693155" y="12620"/>
                  <a:pt x="8974515" y="-19875"/>
                  <a:pt x="9330944" y="0"/>
                </a:cubicBezTo>
                <a:cubicBezTo>
                  <a:pt x="9687373" y="19875"/>
                  <a:pt x="9671148" y="-14591"/>
                  <a:pt x="9884474" y="0"/>
                </a:cubicBezTo>
                <a:cubicBezTo>
                  <a:pt x="10097800" y="14591"/>
                  <a:pt x="10268944" y="-22957"/>
                  <a:pt x="10543439" y="0"/>
                </a:cubicBezTo>
                <a:cubicBezTo>
                  <a:pt x="10512943" y="268250"/>
                  <a:pt x="10558470" y="454467"/>
                  <a:pt x="10543439" y="610560"/>
                </a:cubicBezTo>
                <a:cubicBezTo>
                  <a:pt x="10528408" y="766653"/>
                  <a:pt x="10567418" y="1074050"/>
                  <a:pt x="10543439" y="1203840"/>
                </a:cubicBezTo>
                <a:cubicBezTo>
                  <a:pt x="10519460" y="1333630"/>
                  <a:pt x="10530275" y="1558932"/>
                  <a:pt x="10543439" y="1728000"/>
                </a:cubicBezTo>
                <a:cubicBezTo>
                  <a:pt x="10414763" y="1712106"/>
                  <a:pt x="10342901" y="1723742"/>
                  <a:pt x="10200777" y="1728000"/>
                </a:cubicBezTo>
                <a:cubicBezTo>
                  <a:pt x="10058653" y="1732258"/>
                  <a:pt x="9510471" y="1689504"/>
                  <a:pt x="9330944" y="1728000"/>
                </a:cubicBezTo>
                <a:cubicBezTo>
                  <a:pt x="9151417" y="1766496"/>
                  <a:pt x="8871975" y="1737563"/>
                  <a:pt x="8671979" y="1728000"/>
                </a:cubicBezTo>
                <a:cubicBezTo>
                  <a:pt x="8471983" y="1718437"/>
                  <a:pt x="8364586" y="1744591"/>
                  <a:pt x="8223882" y="1728000"/>
                </a:cubicBezTo>
                <a:cubicBezTo>
                  <a:pt x="8083178" y="1711409"/>
                  <a:pt x="7860824" y="1740908"/>
                  <a:pt x="7564917" y="1728000"/>
                </a:cubicBezTo>
                <a:cubicBezTo>
                  <a:pt x="7269010" y="1715092"/>
                  <a:pt x="7383163" y="1736684"/>
                  <a:pt x="7222256" y="1728000"/>
                </a:cubicBezTo>
                <a:cubicBezTo>
                  <a:pt x="7061349" y="1719316"/>
                  <a:pt x="6984742" y="1728005"/>
                  <a:pt x="6879594" y="1728000"/>
                </a:cubicBezTo>
                <a:cubicBezTo>
                  <a:pt x="6774446" y="1727995"/>
                  <a:pt x="6402256" y="1742728"/>
                  <a:pt x="6220629" y="1728000"/>
                </a:cubicBezTo>
                <a:cubicBezTo>
                  <a:pt x="6039003" y="1713272"/>
                  <a:pt x="5873871" y="1712021"/>
                  <a:pt x="5772533" y="1728000"/>
                </a:cubicBezTo>
                <a:cubicBezTo>
                  <a:pt x="5671195" y="1743979"/>
                  <a:pt x="5304392" y="1755574"/>
                  <a:pt x="5008134" y="1728000"/>
                </a:cubicBezTo>
                <a:cubicBezTo>
                  <a:pt x="4711876" y="1700426"/>
                  <a:pt x="4742356" y="1713950"/>
                  <a:pt x="4560037" y="1728000"/>
                </a:cubicBezTo>
                <a:cubicBezTo>
                  <a:pt x="4377718" y="1742050"/>
                  <a:pt x="3968473" y="1719336"/>
                  <a:pt x="3795638" y="1728000"/>
                </a:cubicBezTo>
                <a:cubicBezTo>
                  <a:pt x="3622803" y="1736664"/>
                  <a:pt x="3533637" y="1744587"/>
                  <a:pt x="3452976" y="1728000"/>
                </a:cubicBezTo>
                <a:cubicBezTo>
                  <a:pt x="3372315" y="1711413"/>
                  <a:pt x="2871268" y="1706017"/>
                  <a:pt x="2688577" y="1728000"/>
                </a:cubicBezTo>
                <a:cubicBezTo>
                  <a:pt x="2505886" y="1749983"/>
                  <a:pt x="2357892" y="1732172"/>
                  <a:pt x="2240481" y="1728000"/>
                </a:cubicBezTo>
                <a:cubicBezTo>
                  <a:pt x="2123070" y="1723828"/>
                  <a:pt x="2049774" y="1737783"/>
                  <a:pt x="1897819" y="1728000"/>
                </a:cubicBezTo>
                <a:cubicBezTo>
                  <a:pt x="1745864" y="1718217"/>
                  <a:pt x="1572017" y="1743147"/>
                  <a:pt x="1449723" y="1728000"/>
                </a:cubicBezTo>
                <a:cubicBezTo>
                  <a:pt x="1327429" y="1712853"/>
                  <a:pt x="944177" y="1698807"/>
                  <a:pt x="685324" y="1728000"/>
                </a:cubicBezTo>
                <a:cubicBezTo>
                  <a:pt x="426471" y="1757193"/>
                  <a:pt x="192255" y="1741516"/>
                  <a:pt x="0" y="1728000"/>
                </a:cubicBezTo>
                <a:cubicBezTo>
                  <a:pt x="-13614" y="1500968"/>
                  <a:pt x="-8295" y="1375516"/>
                  <a:pt x="0" y="1203840"/>
                </a:cubicBezTo>
                <a:cubicBezTo>
                  <a:pt x="8295" y="1032164"/>
                  <a:pt x="19636" y="907865"/>
                  <a:pt x="0" y="679680"/>
                </a:cubicBezTo>
                <a:cubicBezTo>
                  <a:pt x="-19636" y="451495"/>
                  <a:pt x="-10860" y="200957"/>
                  <a:pt x="0" y="0"/>
                </a:cubicBezTo>
                <a:close/>
              </a:path>
            </a:pathLst>
          </a:custGeom>
          <a:solidFill>
            <a:schemeClr val="accent1">
              <a:lumMod val="20000"/>
              <a:lumOff val="80000"/>
              <a:alpha val="50000"/>
            </a:schemeClr>
          </a:solidFill>
          <a:ln w="28575">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24">
            <a:extLst>
              <a:ext uri="{FF2B5EF4-FFF2-40B4-BE49-F238E27FC236}">
                <a16:creationId xmlns:a16="http://schemas.microsoft.com/office/drawing/2014/main" id="{97334313-0DCA-064E-DE21-E60AA3EE4783}"/>
              </a:ext>
            </a:extLst>
          </p:cNvPr>
          <p:cNvGrpSpPr>
            <a:grpSpLocks noChangeAspect="1"/>
          </p:cNvGrpSpPr>
          <p:nvPr/>
        </p:nvGrpSpPr>
        <p:grpSpPr>
          <a:xfrm>
            <a:off x="719018" y="1390545"/>
            <a:ext cx="1728000" cy="1495711"/>
            <a:chOff x="5096920" y="3386757"/>
            <a:chExt cx="4321315" cy="3742090"/>
          </a:xfrm>
        </p:grpSpPr>
        <p:grpSp>
          <p:nvGrpSpPr>
            <p:cNvPr id="18" name="Group 25">
              <a:extLst>
                <a:ext uri="{FF2B5EF4-FFF2-40B4-BE49-F238E27FC236}">
                  <a16:creationId xmlns:a16="http://schemas.microsoft.com/office/drawing/2014/main" id="{C6EC6ADA-09E3-EEC4-A4DB-44A3AED10826}"/>
                </a:ext>
              </a:extLst>
            </p:cNvPr>
            <p:cNvGrpSpPr/>
            <p:nvPr/>
          </p:nvGrpSpPr>
          <p:grpSpPr>
            <a:xfrm>
              <a:off x="5096920" y="3386757"/>
              <a:ext cx="4321315" cy="3742090"/>
              <a:chOff x="6637198" y="3500440"/>
              <a:chExt cx="3071935" cy="3042000"/>
            </a:xfrm>
          </p:grpSpPr>
          <p:pic>
            <p:nvPicPr>
              <p:cNvPr id="22" name="Graphic 29" descr="Cloud with solid fill">
                <a:extLst>
                  <a:ext uri="{FF2B5EF4-FFF2-40B4-BE49-F238E27FC236}">
                    <a16:creationId xmlns:a16="http://schemas.microsoft.com/office/drawing/2014/main" id="{9EC4E47A-C694-2C3D-ACB3-18985BE979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67133" y="3500440"/>
                <a:ext cx="3042000" cy="3042000"/>
              </a:xfrm>
              <a:prstGeom prst="rect">
                <a:avLst/>
              </a:prstGeom>
            </p:spPr>
          </p:pic>
          <p:pic>
            <p:nvPicPr>
              <p:cNvPr id="32" name="Graphic 30" descr="Cloud outline">
                <a:extLst>
                  <a:ext uri="{FF2B5EF4-FFF2-40B4-BE49-F238E27FC236}">
                    <a16:creationId xmlns:a16="http://schemas.microsoft.com/office/drawing/2014/main" id="{FF36AF85-7176-3AD8-D896-C65AD7E280A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37198" y="3500440"/>
                <a:ext cx="3042000" cy="3042000"/>
              </a:xfrm>
              <a:prstGeom prst="rect">
                <a:avLst/>
              </a:prstGeom>
            </p:spPr>
          </p:pic>
        </p:grpSp>
        <p:pic>
          <p:nvPicPr>
            <p:cNvPr id="19" name="Graphic 26">
              <a:extLst>
                <a:ext uri="{FF2B5EF4-FFF2-40B4-BE49-F238E27FC236}">
                  <a16:creationId xmlns:a16="http://schemas.microsoft.com/office/drawing/2014/main" id="{AE9F7DD1-79DD-9343-8CC1-31712D9EEE4B}"/>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0856" y="5186362"/>
              <a:ext cx="811406" cy="800291"/>
            </a:xfrm>
            <a:prstGeom prst="rect">
              <a:avLst/>
            </a:prstGeom>
          </p:spPr>
        </p:pic>
        <p:pic>
          <p:nvPicPr>
            <p:cNvPr id="20" name="Graphic 27">
              <a:extLst>
                <a:ext uri="{FF2B5EF4-FFF2-40B4-BE49-F238E27FC236}">
                  <a16:creationId xmlns:a16="http://schemas.microsoft.com/office/drawing/2014/main" id="{BB6C8C4D-5644-4306-9022-308A79A78EF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75966" y="4320973"/>
              <a:ext cx="1512000" cy="1512000"/>
            </a:xfrm>
            <a:prstGeom prst="rect">
              <a:avLst/>
            </a:prstGeom>
          </p:spPr>
        </p:pic>
        <p:pic>
          <p:nvPicPr>
            <p:cNvPr id="21" name="Graphic 28">
              <a:extLst>
                <a:ext uri="{FF2B5EF4-FFF2-40B4-BE49-F238E27FC236}">
                  <a16:creationId xmlns:a16="http://schemas.microsoft.com/office/drawing/2014/main" id="{20ADB816-8516-1441-56E6-C79FF2ADB2D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66824" y="5076973"/>
              <a:ext cx="1080000" cy="1080000"/>
            </a:xfrm>
            <a:prstGeom prst="rect">
              <a:avLst/>
            </a:prstGeom>
          </p:spPr>
        </p:pic>
      </p:grpSp>
      <p:grpSp>
        <p:nvGrpSpPr>
          <p:cNvPr id="33" name="Group 42">
            <a:extLst>
              <a:ext uri="{FF2B5EF4-FFF2-40B4-BE49-F238E27FC236}">
                <a16:creationId xmlns:a16="http://schemas.microsoft.com/office/drawing/2014/main" id="{BFF32079-C57C-F332-6B44-351A6AB62CAB}"/>
              </a:ext>
            </a:extLst>
          </p:cNvPr>
          <p:cNvGrpSpPr>
            <a:grpSpLocks noChangeAspect="1"/>
          </p:cNvGrpSpPr>
          <p:nvPr/>
        </p:nvGrpSpPr>
        <p:grpSpPr>
          <a:xfrm>
            <a:off x="3761410" y="1773979"/>
            <a:ext cx="3946626" cy="576000"/>
            <a:chOff x="4009104" y="2354854"/>
            <a:chExt cx="4993873" cy="728843"/>
          </a:xfrm>
        </p:grpSpPr>
        <p:cxnSp>
          <p:nvCxnSpPr>
            <p:cNvPr id="36" name="Straight Connector 50">
              <a:extLst>
                <a:ext uri="{FF2B5EF4-FFF2-40B4-BE49-F238E27FC236}">
                  <a16:creationId xmlns:a16="http://schemas.microsoft.com/office/drawing/2014/main" id="{B6AC77B7-BDCE-0FBB-90DA-5D59177FB52E}"/>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7" name="Straight Connector 51">
              <a:extLst>
                <a:ext uri="{FF2B5EF4-FFF2-40B4-BE49-F238E27FC236}">
                  <a16:creationId xmlns:a16="http://schemas.microsoft.com/office/drawing/2014/main" id="{3589D721-2073-BE5C-F315-3D65FF5E5B82}"/>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8" name="Straight Connector 52">
              <a:extLst>
                <a:ext uri="{FF2B5EF4-FFF2-40B4-BE49-F238E27FC236}">
                  <a16:creationId xmlns:a16="http://schemas.microsoft.com/office/drawing/2014/main" id="{899AAB4D-2472-313B-8D0E-A121AB0B4E54}"/>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39" name="Oval 53">
              <a:extLst>
                <a:ext uri="{FF2B5EF4-FFF2-40B4-BE49-F238E27FC236}">
                  <a16:creationId xmlns:a16="http://schemas.microsoft.com/office/drawing/2014/main" id="{828F7FC1-D31B-F1DB-9F32-ADE6FAC24503}"/>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54">
              <a:extLst>
                <a:ext uri="{FF2B5EF4-FFF2-40B4-BE49-F238E27FC236}">
                  <a16:creationId xmlns:a16="http://schemas.microsoft.com/office/drawing/2014/main" id="{3F3A324A-8F7B-574B-7B65-3F33837EA4A1}"/>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48">
              <a:extLst>
                <a:ext uri="{FF2B5EF4-FFF2-40B4-BE49-F238E27FC236}">
                  <a16:creationId xmlns:a16="http://schemas.microsoft.com/office/drawing/2014/main" id="{7DB7B60D-BE26-B518-ED2C-4648FDE937FB}"/>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49">
              <a:extLst>
                <a:ext uri="{FF2B5EF4-FFF2-40B4-BE49-F238E27FC236}">
                  <a16:creationId xmlns:a16="http://schemas.microsoft.com/office/drawing/2014/main" id="{3D6936FC-7DC9-ECF4-D982-C1B568CA458A}"/>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41" name="Grafik 40">
            <a:extLst>
              <a:ext uri="{FF2B5EF4-FFF2-40B4-BE49-F238E27FC236}">
                <a16:creationId xmlns:a16="http://schemas.microsoft.com/office/drawing/2014/main" id="{3C017583-E87E-B323-6F0F-BFE8A2E74AFE}"/>
              </a:ext>
            </a:extLst>
          </p:cNvPr>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2057220" y="1475132"/>
            <a:ext cx="720000" cy="720000"/>
          </a:xfrm>
          <a:prstGeom prst="rect">
            <a:avLst/>
          </a:prstGeom>
        </p:spPr>
      </p:pic>
      <p:grpSp>
        <p:nvGrpSpPr>
          <p:cNvPr id="4" name="Group 58">
            <a:extLst>
              <a:ext uri="{FF2B5EF4-FFF2-40B4-BE49-F238E27FC236}">
                <a16:creationId xmlns:a16="http://schemas.microsoft.com/office/drawing/2014/main" id="{2A45F4AE-304F-630A-3B78-3D9E12F6E460}"/>
              </a:ext>
            </a:extLst>
          </p:cNvPr>
          <p:cNvGrpSpPr/>
          <p:nvPr/>
        </p:nvGrpSpPr>
        <p:grpSpPr>
          <a:xfrm>
            <a:off x="3761411" y="5557579"/>
            <a:ext cx="3943238" cy="575505"/>
            <a:chOff x="4009104" y="2354854"/>
            <a:chExt cx="4993873" cy="728843"/>
          </a:xfrm>
        </p:grpSpPr>
        <p:cxnSp>
          <p:nvCxnSpPr>
            <p:cNvPr id="7" name="Straight Connector 66">
              <a:extLst>
                <a:ext uri="{FF2B5EF4-FFF2-40B4-BE49-F238E27FC236}">
                  <a16:creationId xmlns:a16="http://schemas.microsoft.com/office/drawing/2014/main" id="{04E58B92-0D31-995B-C9F5-0B070DA5051E}"/>
                </a:ext>
              </a:extLst>
            </p:cNvPr>
            <p:cNvCxnSpPr>
              <a:cxnSpLocks/>
            </p:cNvCxnSpPr>
            <p:nvPr/>
          </p:nvCxnSpPr>
          <p:spPr>
            <a:xfrm flipH="1">
              <a:off x="4719942"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8" name="Straight Connector 67">
              <a:extLst>
                <a:ext uri="{FF2B5EF4-FFF2-40B4-BE49-F238E27FC236}">
                  <a16:creationId xmlns:a16="http://schemas.microsoft.com/office/drawing/2014/main" id="{8C76C113-64F0-29D5-DC3E-601511BC095C}"/>
                </a:ext>
              </a:extLst>
            </p:cNvPr>
            <p:cNvCxnSpPr>
              <a:cxnSpLocks/>
            </p:cNvCxnSpPr>
            <p:nvPr/>
          </p:nvCxnSpPr>
          <p:spPr>
            <a:xfrm flipH="1">
              <a:off x="6141618" y="2719275"/>
              <a:ext cx="72884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9" name="Straight Connector 68">
              <a:extLst>
                <a:ext uri="{FF2B5EF4-FFF2-40B4-BE49-F238E27FC236}">
                  <a16:creationId xmlns:a16="http://schemas.microsoft.com/office/drawing/2014/main" id="{FC328707-2F6F-0688-3DF0-BD9D247D416A}"/>
                </a:ext>
              </a:extLst>
            </p:cNvPr>
            <p:cNvCxnSpPr>
              <a:cxnSpLocks/>
            </p:cNvCxnSpPr>
            <p:nvPr/>
          </p:nvCxnSpPr>
          <p:spPr>
            <a:xfrm flipH="1">
              <a:off x="7563294" y="2719275"/>
              <a:ext cx="728843" cy="0"/>
            </a:xfrm>
            <a:prstGeom prst="line">
              <a:avLst/>
            </a:prstGeom>
            <a:ln w="28575"/>
          </p:spPr>
          <p:style>
            <a:lnRef idx="1">
              <a:schemeClr val="dk1"/>
            </a:lnRef>
            <a:fillRef idx="0">
              <a:schemeClr val="dk1"/>
            </a:fillRef>
            <a:effectRef idx="0">
              <a:schemeClr val="dk1"/>
            </a:effectRef>
            <a:fontRef idx="minor">
              <a:schemeClr val="tx1"/>
            </a:fontRef>
          </p:style>
        </p:cxnSp>
        <p:sp>
          <p:nvSpPr>
            <p:cNvPr id="10" name="Oval 69">
              <a:extLst>
                <a:ext uri="{FF2B5EF4-FFF2-40B4-BE49-F238E27FC236}">
                  <a16:creationId xmlns:a16="http://schemas.microsoft.com/office/drawing/2014/main" id="{5B2C9FE9-F023-BF82-6FDC-A2113DB1D9DD}"/>
                </a:ext>
              </a:extLst>
            </p:cNvPr>
            <p:cNvSpPr/>
            <p:nvPr/>
          </p:nvSpPr>
          <p:spPr>
            <a:xfrm>
              <a:off x="5430780" y="2354854"/>
              <a:ext cx="728843" cy="728843"/>
            </a:xfrm>
            <a:prstGeom prst="ellipse">
              <a:avLst/>
            </a:prstGeom>
            <a:solidFill>
              <a:srgbClr val="D1A5E8"/>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70">
              <a:extLst>
                <a:ext uri="{FF2B5EF4-FFF2-40B4-BE49-F238E27FC236}">
                  <a16:creationId xmlns:a16="http://schemas.microsoft.com/office/drawing/2014/main" id="{33D4DF8D-B0D0-FBE5-F262-C92452DEFF8D}"/>
                </a:ext>
              </a:extLst>
            </p:cNvPr>
            <p:cNvSpPr/>
            <p:nvPr/>
          </p:nvSpPr>
          <p:spPr>
            <a:xfrm flipV="1">
              <a:off x="6852456"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64">
              <a:extLst>
                <a:ext uri="{FF2B5EF4-FFF2-40B4-BE49-F238E27FC236}">
                  <a16:creationId xmlns:a16="http://schemas.microsoft.com/office/drawing/2014/main" id="{03CF8DFF-6AE9-77AE-D110-72CA3E120B36}"/>
                </a:ext>
              </a:extLst>
            </p:cNvPr>
            <p:cNvSpPr/>
            <p:nvPr/>
          </p:nvSpPr>
          <p:spPr>
            <a:xfrm>
              <a:off x="400910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65">
              <a:extLst>
                <a:ext uri="{FF2B5EF4-FFF2-40B4-BE49-F238E27FC236}">
                  <a16:creationId xmlns:a16="http://schemas.microsoft.com/office/drawing/2014/main" id="{5B7E9342-DD4F-9DC6-EC72-A442BBB31B26}"/>
                </a:ext>
              </a:extLst>
            </p:cNvPr>
            <p:cNvSpPr/>
            <p:nvPr/>
          </p:nvSpPr>
          <p:spPr>
            <a:xfrm>
              <a:off x="8274134" y="2354854"/>
              <a:ext cx="728843" cy="728843"/>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5" name="Straight Connector 68">
            <a:extLst>
              <a:ext uri="{FF2B5EF4-FFF2-40B4-BE49-F238E27FC236}">
                <a16:creationId xmlns:a16="http://schemas.microsoft.com/office/drawing/2014/main" id="{F0842864-CEC6-8F12-0892-17020F73579C}"/>
              </a:ext>
            </a:extLst>
          </p:cNvPr>
          <p:cNvCxnSpPr>
            <a:cxnSpLocks/>
          </p:cNvCxnSpPr>
          <p:nvPr/>
        </p:nvCxnSpPr>
        <p:spPr>
          <a:xfrm flipH="1">
            <a:off x="7710322" y="5845331"/>
            <a:ext cx="575506" cy="0"/>
          </a:xfrm>
          <a:prstGeom prst="line">
            <a:avLst/>
          </a:prstGeom>
          <a:ln w="28575"/>
        </p:spPr>
        <p:style>
          <a:lnRef idx="1">
            <a:schemeClr val="dk1"/>
          </a:lnRef>
          <a:fillRef idx="0">
            <a:schemeClr val="dk1"/>
          </a:fillRef>
          <a:effectRef idx="0">
            <a:schemeClr val="dk1"/>
          </a:effectRef>
          <a:fontRef idx="minor">
            <a:schemeClr val="tx1"/>
          </a:fontRef>
        </p:style>
      </p:cxnSp>
      <p:sp>
        <p:nvSpPr>
          <p:cNvPr id="6" name="Oval 65">
            <a:extLst>
              <a:ext uri="{FF2B5EF4-FFF2-40B4-BE49-F238E27FC236}">
                <a16:creationId xmlns:a16="http://schemas.microsoft.com/office/drawing/2014/main" id="{74A3AFC2-404D-DB60-C4A8-3668F6BD7706}"/>
              </a:ext>
            </a:extLst>
          </p:cNvPr>
          <p:cNvSpPr/>
          <p:nvPr/>
        </p:nvSpPr>
        <p:spPr>
          <a:xfrm>
            <a:off x="8271612" y="5557579"/>
            <a:ext cx="575506" cy="575505"/>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Down Arrow 71">
            <a:extLst>
              <a:ext uri="{FF2B5EF4-FFF2-40B4-BE49-F238E27FC236}">
                <a16:creationId xmlns:a16="http://schemas.microsoft.com/office/drawing/2014/main" id="{2B7ADAF6-4BDB-B93A-B5FF-17F2AC3963ED}"/>
              </a:ext>
            </a:extLst>
          </p:cNvPr>
          <p:cNvSpPr/>
          <p:nvPr/>
        </p:nvSpPr>
        <p:spPr>
          <a:xfrm rot="10800000">
            <a:off x="9126891" y="4218644"/>
            <a:ext cx="1130157" cy="1524426"/>
          </a:xfrm>
          <a:prstGeom prst="downArrow">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dirty="0">
                <a:solidFill>
                  <a:schemeClr val="bg1"/>
                </a:solidFill>
              </a:rPr>
              <a:t>Push</a:t>
            </a:r>
          </a:p>
        </p:txBody>
      </p:sp>
      <p:cxnSp>
        <p:nvCxnSpPr>
          <p:cNvPr id="42" name="Straight Connector 68">
            <a:extLst>
              <a:ext uri="{FF2B5EF4-FFF2-40B4-BE49-F238E27FC236}">
                <a16:creationId xmlns:a16="http://schemas.microsoft.com/office/drawing/2014/main" id="{1DF84C1B-67FE-FB2D-9592-9D7E2350DB44}"/>
              </a:ext>
            </a:extLst>
          </p:cNvPr>
          <p:cNvCxnSpPr>
            <a:cxnSpLocks/>
          </p:cNvCxnSpPr>
          <p:nvPr/>
        </p:nvCxnSpPr>
        <p:spPr>
          <a:xfrm flipH="1">
            <a:off x="7710322" y="3944978"/>
            <a:ext cx="575506" cy="0"/>
          </a:xfrm>
          <a:prstGeom prst="line">
            <a:avLst/>
          </a:prstGeom>
          <a:ln w="28575"/>
        </p:spPr>
        <p:style>
          <a:lnRef idx="1">
            <a:schemeClr val="dk1"/>
          </a:lnRef>
          <a:fillRef idx="0">
            <a:schemeClr val="dk1"/>
          </a:fillRef>
          <a:effectRef idx="0">
            <a:schemeClr val="dk1"/>
          </a:effectRef>
          <a:fontRef idx="minor">
            <a:schemeClr val="tx1"/>
          </a:fontRef>
        </p:style>
      </p:cxnSp>
      <p:sp>
        <p:nvSpPr>
          <p:cNvPr id="44" name="Oval 65">
            <a:extLst>
              <a:ext uri="{FF2B5EF4-FFF2-40B4-BE49-F238E27FC236}">
                <a16:creationId xmlns:a16="http://schemas.microsoft.com/office/drawing/2014/main" id="{AB1CAC6A-4298-C36D-232F-FEE95A9C61A2}"/>
              </a:ext>
            </a:extLst>
          </p:cNvPr>
          <p:cNvSpPr/>
          <p:nvPr/>
        </p:nvSpPr>
        <p:spPr>
          <a:xfrm>
            <a:off x="8271612" y="3657226"/>
            <a:ext cx="575506" cy="575505"/>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Down Arrow 71">
            <a:extLst>
              <a:ext uri="{FF2B5EF4-FFF2-40B4-BE49-F238E27FC236}">
                <a16:creationId xmlns:a16="http://schemas.microsoft.com/office/drawing/2014/main" id="{E15E3251-5A8E-68E1-31D0-630061323C89}"/>
              </a:ext>
            </a:extLst>
          </p:cNvPr>
          <p:cNvSpPr/>
          <p:nvPr/>
        </p:nvSpPr>
        <p:spPr>
          <a:xfrm rot="10800000">
            <a:off x="9126892" y="2281960"/>
            <a:ext cx="1130157" cy="1524426"/>
          </a:xfrm>
          <a:prstGeom prst="downArrow">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1600" dirty="0">
                <a:solidFill>
                  <a:schemeClr val="bg1"/>
                </a:solidFill>
              </a:rPr>
              <a:t>Pull Request</a:t>
            </a:r>
          </a:p>
        </p:txBody>
      </p:sp>
      <p:cxnSp>
        <p:nvCxnSpPr>
          <p:cNvPr id="46" name="Straight Connector 68">
            <a:extLst>
              <a:ext uri="{FF2B5EF4-FFF2-40B4-BE49-F238E27FC236}">
                <a16:creationId xmlns:a16="http://schemas.microsoft.com/office/drawing/2014/main" id="{D34636DD-224E-9726-5432-156062A26D11}"/>
              </a:ext>
            </a:extLst>
          </p:cNvPr>
          <p:cNvCxnSpPr>
            <a:cxnSpLocks/>
          </p:cNvCxnSpPr>
          <p:nvPr/>
        </p:nvCxnSpPr>
        <p:spPr>
          <a:xfrm flipH="1">
            <a:off x="7716076" y="2061731"/>
            <a:ext cx="555536" cy="0"/>
          </a:xfrm>
          <a:prstGeom prst="line">
            <a:avLst/>
          </a:prstGeom>
          <a:ln w="28575">
            <a:solidFill>
              <a:schemeClr val="dk1">
                <a:alpha val="55000"/>
              </a:schemeClr>
            </a:solidFill>
          </a:ln>
        </p:spPr>
        <p:style>
          <a:lnRef idx="1">
            <a:schemeClr val="dk1"/>
          </a:lnRef>
          <a:fillRef idx="0">
            <a:schemeClr val="dk1"/>
          </a:fillRef>
          <a:effectRef idx="0">
            <a:schemeClr val="dk1"/>
          </a:effectRef>
          <a:fontRef idx="minor">
            <a:schemeClr val="tx1"/>
          </a:fontRef>
        </p:style>
      </p:cxnSp>
      <p:sp>
        <p:nvSpPr>
          <p:cNvPr id="47" name="Oval 65">
            <a:extLst>
              <a:ext uri="{FF2B5EF4-FFF2-40B4-BE49-F238E27FC236}">
                <a16:creationId xmlns:a16="http://schemas.microsoft.com/office/drawing/2014/main" id="{2BB65749-B84A-5BA2-3CFA-CE1F15AB6176}"/>
              </a:ext>
            </a:extLst>
          </p:cNvPr>
          <p:cNvSpPr/>
          <p:nvPr/>
        </p:nvSpPr>
        <p:spPr>
          <a:xfrm>
            <a:off x="8277366" y="1773979"/>
            <a:ext cx="575506" cy="575505"/>
          </a:xfrm>
          <a:prstGeom prst="ellipse">
            <a:avLst/>
          </a:prstGeom>
          <a:solidFill>
            <a:srgbClr val="78C2AD">
              <a:alpha val="55000"/>
            </a:srgb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8" name="Straight Connector 68">
            <a:extLst>
              <a:ext uri="{FF2B5EF4-FFF2-40B4-BE49-F238E27FC236}">
                <a16:creationId xmlns:a16="http://schemas.microsoft.com/office/drawing/2014/main" id="{B9E502D5-F063-5ABF-8A1D-735B608675FA}"/>
              </a:ext>
            </a:extLst>
          </p:cNvPr>
          <p:cNvCxnSpPr>
            <a:cxnSpLocks/>
          </p:cNvCxnSpPr>
          <p:nvPr/>
        </p:nvCxnSpPr>
        <p:spPr>
          <a:xfrm flipH="1">
            <a:off x="7727335" y="2061730"/>
            <a:ext cx="575506" cy="0"/>
          </a:xfrm>
          <a:prstGeom prst="line">
            <a:avLst/>
          </a:prstGeom>
          <a:ln w="28575"/>
        </p:spPr>
        <p:style>
          <a:lnRef idx="1">
            <a:schemeClr val="dk1"/>
          </a:lnRef>
          <a:fillRef idx="0">
            <a:schemeClr val="dk1"/>
          </a:fillRef>
          <a:effectRef idx="0">
            <a:schemeClr val="dk1"/>
          </a:effectRef>
          <a:fontRef idx="minor">
            <a:schemeClr val="tx1"/>
          </a:fontRef>
        </p:style>
      </p:cxnSp>
      <p:sp>
        <p:nvSpPr>
          <p:cNvPr id="60" name="Oval 65">
            <a:extLst>
              <a:ext uri="{FF2B5EF4-FFF2-40B4-BE49-F238E27FC236}">
                <a16:creationId xmlns:a16="http://schemas.microsoft.com/office/drawing/2014/main" id="{CDE4C998-1639-18A6-BE2D-F1896EB5B9FC}"/>
              </a:ext>
            </a:extLst>
          </p:cNvPr>
          <p:cNvSpPr/>
          <p:nvPr/>
        </p:nvSpPr>
        <p:spPr>
          <a:xfrm>
            <a:off x="8288625" y="1773978"/>
            <a:ext cx="575506" cy="575505"/>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echteck 60">
            <a:extLst>
              <a:ext uri="{FF2B5EF4-FFF2-40B4-BE49-F238E27FC236}">
                <a16:creationId xmlns:a16="http://schemas.microsoft.com/office/drawing/2014/main" id="{37B0540B-BFB7-9705-F576-02245DB9C674}"/>
              </a:ext>
            </a:extLst>
          </p:cNvPr>
          <p:cNvSpPr/>
          <p:nvPr/>
        </p:nvSpPr>
        <p:spPr>
          <a:xfrm>
            <a:off x="9490440" y="1336712"/>
            <a:ext cx="439543" cy="923330"/>
          </a:xfrm>
          <a:prstGeom prst="rect">
            <a:avLst/>
          </a:prstGeom>
          <a:noFill/>
          <a:ln>
            <a:noFill/>
          </a:ln>
        </p:spPr>
        <p:txBody>
          <a:bodyPr wrap="none" lIns="91440" tIns="45720" rIns="91440" bIns="45720">
            <a:spAutoFit/>
          </a:bodyPr>
          <a:lstStyle/>
          <a:p>
            <a:pPr algn="ctr"/>
            <a:r>
              <a:rPr lang="de-DE" sz="5400" b="0" cap="none" spc="0" dirty="0">
                <a:ln w="0"/>
                <a:solidFill>
                  <a:srgbClr val="FFC000"/>
                </a:solidFill>
                <a:effectLst>
                  <a:outerShdw blurRad="38100" dist="25400" dir="5400000" algn="ctr" rotWithShape="0">
                    <a:srgbClr val="6E747A">
                      <a:alpha val="43000"/>
                    </a:srgbClr>
                  </a:outerShdw>
                </a:effectLst>
              </a:rPr>
              <a:t>?</a:t>
            </a:r>
          </a:p>
        </p:txBody>
      </p:sp>
    </p:spTree>
    <p:extLst>
      <p:ext uri="{BB962C8B-B14F-4D97-AF65-F5344CB8AC3E}">
        <p14:creationId xmlns:p14="http://schemas.microsoft.com/office/powerpoint/2010/main" val="830131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mph" presetSubtype="2" fill="hold" nodeType="clickEffect">
                                  <p:stCondLst>
                                    <p:cond delay="0"/>
                                  </p:stCondLst>
                                  <p:childTnLst>
                                    <p:animClr clrSpc="rgb" dir="cw">
                                      <p:cBhvr>
                                        <p:cTn id="30" dur="10" fill="hold"/>
                                        <p:tgtEl>
                                          <p:spTgt spid="45"/>
                                        </p:tgtEl>
                                        <p:attrNameLst>
                                          <p:attrName>fillcolor</p:attrName>
                                        </p:attrNameLst>
                                      </p:cBhvr>
                                      <p:to>
                                        <a:srgbClr val="164161"/>
                                      </p:to>
                                    </p:animClr>
                                    <p:set>
                                      <p:cBhvr>
                                        <p:cTn id="31" dur="10" fill="hold"/>
                                        <p:tgtEl>
                                          <p:spTgt spid="45"/>
                                        </p:tgtEl>
                                        <p:attrNameLst>
                                          <p:attrName>fill.type</p:attrName>
                                        </p:attrNameLst>
                                      </p:cBhvr>
                                      <p:to>
                                        <p:strVal val="solid"/>
                                      </p:to>
                                    </p:set>
                                    <p:set>
                                      <p:cBhvr>
                                        <p:cTn id="32" dur="10" fill="hold"/>
                                        <p:tgtEl>
                                          <p:spTgt spid="45"/>
                                        </p:tgtEl>
                                        <p:attrNameLst>
                                          <p:attrName>fill.on</p:attrName>
                                        </p:attrNameLst>
                                      </p:cBhvr>
                                      <p:to>
                                        <p:strVal val="true"/>
                                      </p:to>
                                    </p:set>
                                  </p:childTnLst>
                                </p:cTn>
                              </p:par>
                              <p:par>
                                <p:cTn id="33" presetID="7" presetClass="emph" presetSubtype="2" fill="hold" nodeType="withEffect">
                                  <p:stCondLst>
                                    <p:cond delay="0"/>
                                  </p:stCondLst>
                                  <p:childTnLst>
                                    <p:animClr clrSpc="rgb" dir="cw">
                                      <p:cBhvr>
                                        <p:cTn id="34" dur="10" fill="hold"/>
                                        <p:tgtEl>
                                          <p:spTgt spid="45"/>
                                        </p:tgtEl>
                                        <p:attrNameLst>
                                          <p:attrName>stroke.color</p:attrName>
                                        </p:attrNameLst>
                                      </p:cBhvr>
                                      <p:to>
                                        <a:srgbClr val="002060"/>
                                      </p:to>
                                    </p:animClr>
                                    <p:set>
                                      <p:cBhvr>
                                        <p:cTn id="35" dur="10" fill="hold"/>
                                        <p:tgtEl>
                                          <p:spTgt spid="45"/>
                                        </p:tgtEl>
                                        <p:attrNameLst>
                                          <p:attrName>stroke.on</p:attrName>
                                        </p:attrNameLst>
                                      </p:cBhvr>
                                      <p:to>
                                        <p:strVal val="true"/>
                                      </p:to>
                                    </p:set>
                                  </p:childTnLst>
                                </p:cTn>
                              </p:par>
                              <p:par>
                                <p:cTn id="36" presetID="9" presetClass="emph" presetSubtype="0" nodeType="withEffect">
                                  <p:stCondLst>
                                    <p:cond delay="0"/>
                                  </p:stCondLst>
                                  <p:childTnLst>
                                    <p:set>
                                      <p:cBhvr>
                                        <p:cTn id="37" dur="indefinite"/>
                                        <p:tgtEl>
                                          <p:spTgt spid="46"/>
                                        </p:tgtEl>
                                        <p:attrNameLst>
                                          <p:attrName>style.opacity</p:attrName>
                                        </p:attrNameLst>
                                      </p:cBhvr>
                                      <p:to>
                                        <p:strVal val="0.5"/>
                                      </p:to>
                                    </p:set>
                                    <p:animEffect filter="image" prLst="opacity: 0.5">
                                      <p:cBhvr rctx="IE">
                                        <p:cTn id="38" dur="indefinite"/>
                                        <p:tgtEl>
                                          <p:spTgt spid="46"/>
                                        </p:tgtEl>
                                      </p:cBhvr>
                                    </p:animEffect>
                                  </p:childTnLst>
                                </p:cTn>
                              </p:par>
                              <p:par>
                                <p:cTn id="39" presetID="19" presetClass="emph" presetSubtype="0" fill="hold" grpId="1" nodeType="withEffect">
                                  <p:stCondLst>
                                    <p:cond delay="0"/>
                                  </p:stCondLst>
                                  <p:childTnLst>
                                    <p:animClr clrSpc="rgb" dir="cw">
                                      <p:cBhvr override="childStyle">
                                        <p:cTn id="40" dur="500" fill="hold"/>
                                        <p:tgtEl>
                                          <p:spTgt spid="47"/>
                                        </p:tgtEl>
                                        <p:attrNameLst>
                                          <p:attrName>style.color</p:attrName>
                                        </p:attrNameLst>
                                      </p:cBhvr>
                                      <p:to>
                                        <a:srgbClr val="78C2AD"/>
                                      </p:to>
                                    </p:animClr>
                                    <p:animClr clrSpc="rgb" dir="cw">
                                      <p:cBhvr>
                                        <p:cTn id="41" dur="500" fill="hold"/>
                                        <p:tgtEl>
                                          <p:spTgt spid="47"/>
                                        </p:tgtEl>
                                        <p:attrNameLst>
                                          <p:attrName>fillcolor</p:attrName>
                                        </p:attrNameLst>
                                      </p:cBhvr>
                                      <p:to>
                                        <a:srgbClr val="78C2AD"/>
                                      </p:to>
                                    </p:animClr>
                                    <p:set>
                                      <p:cBhvr>
                                        <p:cTn id="42" dur="500" fill="hold"/>
                                        <p:tgtEl>
                                          <p:spTgt spid="47"/>
                                        </p:tgtEl>
                                        <p:attrNameLst>
                                          <p:attrName>fill.type</p:attrName>
                                        </p:attrNameLst>
                                      </p:cBhvr>
                                      <p:to>
                                        <p:strVal val="solid"/>
                                      </p:to>
                                    </p:set>
                                    <p:set>
                                      <p:cBhvr>
                                        <p:cTn id="43" dur="500" fill="hold"/>
                                        <p:tgtEl>
                                          <p:spTgt spid="47"/>
                                        </p:tgtEl>
                                        <p:attrNameLst>
                                          <p:attrName>fill.on</p:attrName>
                                        </p:attrNameLst>
                                      </p:cBhvr>
                                      <p:to>
                                        <p:strVal val="true"/>
                                      </p:to>
                                    </p:set>
                                  </p:childTnLst>
                                </p:cTn>
                              </p:par>
                              <p:par>
                                <p:cTn id="44" presetID="19" presetClass="emph" presetSubtype="0" fill="hold" nodeType="withEffect">
                                  <p:stCondLst>
                                    <p:cond delay="0"/>
                                  </p:stCondLst>
                                  <p:childTnLst>
                                    <p:animClr clrSpc="rgb" dir="cw">
                                      <p:cBhvr override="childStyle">
                                        <p:cTn id="45" dur="500" fill="hold"/>
                                        <p:tgtEl>
                                          <p:spTgt spid="46"/>
                                        </p:tgtEl>
                                        <p:attrNameLst>
                                          <p:attrName>style.color</p:attrName>
                                        </p:attrNameLst>
                                      </p:cBhvr>
                                      <p:to>
                                        <a:srgbClr val="000000"/>
                                      </p:to>
                                    </p:animClr>
                                    <p:animClr clrSpc="rgb" dir="cw">
                                      <p:cBhvr>
                                        <p:cTn id="46" dur="500" fill="hold"/>
                                        <p:tgtEl>
                                          <p:spTgt spid="46"/>
                                        </p:tgtEl>
                                        <p:attrNameLst>
                                          <p:attrName>fillcolor</p:attrName>
                                        </p:attrNameLst>
                                      </p:cBhvr>
                                      <p:to>
                                        <a:srgbClr val="000000"/>
                                      </p:to>
                                    </p:animClr>
                                    <p:set>
                                      <p:cBhvr>
                                        <p:cTn id="47" dur="500" fill="hold"/>
                                        <p:tgtEl>
                                          <p:spTgt spid="46"/>
                                        </p:tgtEl>
                                        <p:attrNameLst>
                                          <p:attrName>fill.type</p:attrName>
                                        </p:attrNameLst>
                                      </p:cBhvr>
                                      <p:to>
                                        <p:strVal val="solid"/>
                                      </p:to>
                                    </p:set>
                                    <p:set>
                                      <p:cBhvr>
                                        <p:cTn id="48" dur="500" fill="hold"/>
                                        <p:tgtEl>
                                          <p:spTgt spid="46"/>
                                        </p:tgtEl>
                                        <p:attrNameLst>
                                          <p:attrName>fill.on</p:attrName>
                                        </p:attrNameLst>
                                      </p:cBhvr>
                                      <p:to>
                                        <p:strVal val="true"/>
                                      </p:to>
                                    </p:set>
                                  </p:childTnLst>
                                </p:cTn>
                              </p:par>
                              <p:par>
                                <p:cTn id="49" presetID="1" presetClass="entr" presetSubtype="0" fill="hold" grpId="0" nodeType="withEffect">
                                  <p:stCondLst>
                                    <p:cond delay="0"/>
                                  </p:stCondLst>
                                  <p:childTnLst>
                                    <p:set>
                                      <p:cBhvr>
                                        <p:cTn id="50" dur="1" fill="hold">
                                          <p:stCondLst>
                                            <p:cond delay="0"/>
                                          </p:stCondLst>
                                        </p:cTn>
                                        <p:tgtEl>
                                          <p:spTgt spid="6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8"/>
                                        </p:tgtEl>
                                        <p:attrNameLst>
                                          <p:attrName>style.visibility</p:attrName>
                                        </p:attrNameLst>
                                      </p:cBhvr>
                                      <p:to>
                                        <p:strVal val="visible"/>
                                      </p:to>
                                    </p:set>
                                  </p:childTnLst>
                                </p:cTn>
                              </p:par>
                              <p:par>
                                <p:cTn id="53" presetID="1" presetClass="exit" presetSubtype="0" fill="hold" grpId="1" nodeType="withEffect">
                                  <p:stCondLst>
                                    <p:cond delay="0"/>
                                  </p:stCondLst>
                                  <p:childTnLst>
                                    <p:set>
                                      <p:cBhvr>
                                        <p:cTn id="54" dur="1" fill="hold">
                                          <p:stCondLst>
                                            <p:cond delay="0"/>
                                          </p:stCondLst>
                                        </p:cTn>
                                        <p:tgtEl>
                                          <p:spTgt spid="6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5" grpId="0" animBg="1"/>
      <p:bldP spid="44" grpId="0" animBg="1"/>
      <p:bldP spid="45" grpId="0" animBg="1"/>
      <p:bldP spid="47" grpId="0" animBg="1"/>
      <p:bldP spid="47" grpId="1" animBg="1"/>
      <p:bldP spid="60" grpId="0" animBg="1"/>
      <p:bldP spid="61" grpId="0"/>
      <p:bldP spid="61"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C315D-7D80-BA27-05C5-AB0766961C98}"/>
              </a:ext>
            </a:extLst>
          </p:cNvPr>
          <p:cNvSpPr>
            <a:spLocks noGrp="1"/>
          </p:cNvSpPr>
          <p:nvPr>
            <p:ph type="title"/>
          </p:nvPr>
        </p:nvSpPr>
        <p:spPr/>
        <p:txBody>
          <a:bodyPr/>
          <a:lstStyle/>
          <a:p>
            <a:r>
              <a:rPr lang="en-US" dirty="0"/>
              <a:t>Coffee Break</a:t>
            </a:r>
          </a:p>
        </p:txBody>
      </p:sp>
      <p:sp>
        <p:nvSpPr>
          <p:cNvPr id="3" name="Text Placeholder 2">
            <a:extLst>
              <a:ext uri="{FF2B5EF4-FFF2-40B4-BE49-F238E27FC236}">
                <a16:creationId xmlns:a16="http://schemas.microsoft.com/office/drawing/2014/main" id="{FEC03F9D-8473-B519-63D0-1BD5D5FCC4A3}"/>
              </a:ext>
            </a:extLst>
          </p:cNvPr>
          <p:cNvSpPr>
            <a:spLocks noGrp="1"/>
          </p:cNvSpPr>
          <p:nvPr>
            <p:ph type="body" idx="1"/>
          </p:nvPr>
        </p:nvSpPr>
        <p:spPr/>
        <p:txBody>
          <a:bodyPr/>
          <a:lstStyle/>
          <a:p>
            <a:r>
              <a:rPr lang="en-US" dirty="0"/>
              <a:t>20 min</a:t>
            </a:r>
          </a:p>
        </p:txBody>
      </p:sp>
      <p:grpSp>
        <p:nvGrpSpPr>
          <p:cNvPr id="8" name="Group 7">
            <a:extLst>
              <a:ext uri="{FF2B5EF4-FFF2-40B4-BE49-F238E27FC236}">
                <a16:creationId xmlns:a16="http://schemas.microsoft.com/office/drawing/2014/main" id="{A201C927-FE8C-489C-80A6-ACD6818486F8}"/>
              </a:ext>
            </a:extLst>
          </p:cNvPr>
          <p:cNvGrpSpPr/>
          <p:nvPr/>
        </p:nvGrpSpPr>
        <p:grpSpPr>
          <a:xfrm>
            <a:off x="5215594" y="2330552"/>
            <a:ext cx="3082244" cy="3082244"/>
            <a:chOff x="7644896" y="3429000"/>
            <a:chExt cx="914400" cy="914400"/>
          </a:xfrm>
        </p:grpSpPr>
        <p:pic>
          <p:nvPicPr>
            <p:cNvPr id="7" name="Graphic 6" descr="Coffee with solid fill">
              <a:extLst>
                <a:ext uri="{FF2B5EF4-FFF2-40B4-BE49-F238E27FC236}">
                  <a16:creationId xmlns:a16="http://schemas.microsoft.com/office/drawing/2014/main" id="{2E14215D-9980-B8DA-BA0D-FFA11BD52B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4896" y="3429000"/>
              <a:ext cx="914400" cy="914400"/>
            </a:xfrm>
            <a:prstGeom prst="rect">
              <a:avLst/>
            </a:prstGeom>
          </p:spPr>
        </p:pic>
        <p:pic>
          <p:nvPicPr>
            <p:cNvPr id="5" name="Graphic 4" descr="Coffee outline">
              <a:extLst>
                <a:ext uri="{FF2B5EF4-FFF2-40B4-BE49-F238E27FC236}">
                  <a16:creationId xmlns:a16="http://schemas.microsoft.com/office/drawing/2014/main" id="{894063B7-8971-AB3A-1EAD-6F1332E58AB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44896" y="3429000"/>
              <a:ext cx="914400" cy="914400"/>
            </a:xfrm>
            <a:prstGeom prst="rect">
              <a:avLst/>
            </a:prstGeom>
          </p:spPr>
        </p:pic>
      </p:grpSp>
    </p:spTree>
    <p:extLst>
      <p:ext uri="{BB962C8B-B14F-4D97-AF65-F5344CB8AC3E}">
        <p14:creationId xmlns:p14="http://schemas.microsoft.com/office/powerpoint/2010/main" val="7856452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C315D-7D80-BA27-05C5-AB0766961C98}"/>
              </a:ext>
            </a:extLst>
          </p:cNvPr>
          <p:cNvSpPr>
            <a:spLocks noGrp="1"/>
          </p:cNvSpPr>
          <p:nvPr>
            <p:ph type="title"/>
          </p:nvPr>
        </p:nvSpPr>
        <p:spPr/>
        <p:txBody>
          <a:bodyPr/>
          <a:lstStyle/>
          <a:p>
            <a:r>
              <a:rPr lang="en-US" dirty="0"/>
              <a:t>Git in Practice</a:t>
            </a:r>
          </a:p>
        </p:txBody>
      </p:sp>
      <p:sp>
        <p:nvSpPr>
          <p:cNvPr id="3" name="Text Placeholder 2">
            <a:extLst>
              <a:ext uri="{FF2B5EF4-FFF2-40B4-BE49-F238E27FC236}">
                <a16:creationId xmlns:a16="http://schemas.microsoft.com/office/drawing/2014/main" id="{FEC03F9D-8473-B519-63D0-1BD5D5FCC4A3}"/>
              </a:ext>
            </a:extLst>
          </p:cNvPr>
          <p:cNvSpPr>
            <a:spLocks noGrp="1"/>
          </p:cNvSpPr>
          <p:nvPr>
            <p:ph type="body" idx="1"/>
          </p:nvPr>
        </p:nvSpPr>
        <p:spPr/>
        <p:txBody>
          <a:bodyPr/>
          <a:lstStyle/>
          <a:p>
            <a:r>
              <a:rPr lang="en-US" dirty="0"/>
              <a:t>Hands-on posit Cloud demo</a:t>
            </a:r>
          </a:p>
        </p:txBody>
      </p:sp>
    </p:spTree>
    <p:extLst>
      <p:ext uri="{BB962C8B-B14F-4D97-AF65-F5344CB8AC3E}">
        <p14:creationId xmlns:p14="http://schemas.microsoft.com/office/powerpoint/2010/main" val="5591961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1CAB11-ECF0-42B6-B083-EB0D37301293}"/>
              </a:ext>
            </a:extLst>
          </p:cNvPr>
          <p:cNvSpPr>
            <a:spLocks noGrp="1"/>
          </p:cNvSpPr>
          <p:nvPr>
            <p:ph type="title"/>
          </p:nvPr>
        </p:nvSpPr>
        <p:spPr/>
        <p:txBody>
          <a:bodyPr/>
          <a:lstStyle/>
          <a:p>
            <a:r>
              <a:rPr lang="en-GB" dirty="0"/>
              <a:t>What we will cover</a:t>
            </a:r>
          </a:p>
        </p:txBody>
      </p:sp>
      <p:sp>
        <p:nvSpPr>
          <p:cNvPr id="6" name="TextBox 5">
            <a:extLst>
              <a:ext uri="{FF2B5EF4-FFF2-40B4-BE49-F238E27FC236}">
                <a16:creationId xmlns:a16="http://schemas.microsoft.com/office/drawing/2014/main" id="{A113E4D4-6788-4CBE-B68F-3678A9A4B94B}"/>
              </a:ext>
            </a:extLst>
          </p:cNvPr>
          <p:cNvSpPr txBox="1"/>
          <p:nvPr/>
        </p:nvSpPr>
        <p:spPr>
          <a:xfrm>
            <a:off x="11653024" y="6467707"/>
            <a:ext cx="538976" cy="369332"/>
          </a:xfrm>
          <a:prstGeom prst="rect">
            <a:avLst/>
          </a:prstGeom>
          <a:noFill/>
        </p:spPr>
        <p:txBody>
          <a:bodyPr wrap="square" rtlCol="0">
            <a:spAutoFit/>
          </a:bodyPr>
          <a:lstStyle/>
          <a:p>
            <a:fld id="{7963FE43-8656-4C5A-9E03-5FE3C6822857}" type="slidenum">
              <a:rPr lang="en-US" smtClean="0"/>
              <a:t>34</a:t>
            </a:fld>
            <a:endParaRPr lang="en-US" dirty="0"/>
          </a:p>
        </p:txBody>
      </p:sp>
      <p:grpSp>
        <p:nvGrpSpPr>
          <p:cNvPr id="14" name="Group 13">
            <a:extLst>
              <a:ext uri="{FF2B5EF4-FFF2-40B4-BE49-F238E27FC236}">
                <a16:creationId xmlns:a16="http://schemas.microsoft.com/office/drawing/2014/main" id="{61B92494-23CF-6870-7F87-CBCE5A8DEA6F}"/>
              </a:ext>
            </a:extLst>
          </p:cNvPr>
          <p:cNvGrpSpPr/>
          <p:nvPr/>
        </p:nvGrpSpPr>
        <p:grpSpPr>
          <a:xfrm>
            <a:off x="7155265" y="3590456"/>
            <a:ext cx="3524753" cy="3394544"/>
            <a:chOff x="5096920" y="3386757"/>
            <a:chExt cx="4321315" cy="3742090"/>
          </a:xfrm>
        </p:grpSpPr>
        <p:grpSp>
          <p:nvGrpSpPr>
            <p:cNvPr id="15" name="Group 14">
              <a:extLst>
                <a:ext uri="{FF2B5EF4-FFF2-40B4-BE49-F238E27FC236}">
                  <a16:creationId xmlns:a16="http://schemas.microsoft.com/office/drawing/2014/main" id="{E910294C-D3EF-FB4B-A124-39D15EF158E2}"/>
                </a:ext>
              </a:extLst>
            </p:cNvPr>
            <p:cNvGrpSpPr/>
            <p:nvPr/>
          </p:nvGrpSpPr>
          <p:grpSpPr>
            <a:xfrm>
              <a:off x="5096920" y="3386757"/>
              <a:ext cx="4321315" cy="3742090"/>
              <a:chOff x="6637198" y="3500440"/>
              <a:chExt cx="3071935" cy="3042000"/>
            </a:xfrm>
          </p:grpSpPr>
          <p:pic>
            <p:nvPicPr>
              <p:cNvPr id="19" name="Graphic 18" descr="Cloud with solid fill">
                <a:extLst>
                  <a:ext uri="{FF2B5EF4-FFF2-40B4-BE49-F238E27FC236}">
                    <a16:creationId xmlns:a16="http://schemas.microsoft.com/office/drawing/2014/main" id="{E49D6537-1350-59B3-429A-1200C61805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67133" y="3500440"/>
                <a:ext cx="3042000" cy="3042000"/>
              </a:xfrm>
              <a:prstGeom prst="rect">
                <a:avLst/>
              </a:prstGeom>
            </p:spPr>
          </p:pic>
          <p:pic>
            <p:nvPicPr>
              <p:cNvPr id="20" name="Graphic 16" descr="Cloud outline">
                <a:extLst>
                  <a:ext uri="{FF2B5EF4-FFF2-40B4-BE49-F238E27FC236}">
                    <a16:creationId xmlns:a16="http://schemas.microsoft.com/office/drawing/2014/main" id="{61BCCF0C-6372-C0D3-CB55-1CEDB5F6B0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37198" y="3500440"/>
                <a:ext cx="3042000" cy="3042000"/>
              </a:xfrm>
              <a:prstGeom prst="rect">
                <a:avLst/>
              </a:prstGeom>
            </p:spPr>
          </p:pic>
        </p:grpSp>
        <p:pic>
          <p:nvPicPr>
            <p:cNvPr id="16" name="Graphic 8">
              <a:extLst>
                <a:ext uri="{FF2B5EF4-FFF2-40B4-BE49-F238E27FC236}">
                  <a16:creationId xmlns:a16="http://schemas.microsoft.com/office/drawing/2014/main" id="{6040E45B-2B96-AA27-A930-94E0B216A2FE}"/>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98895" y="4835311"/>
              <a:ext cx="1166925" cy="1150940"/>
            </a:xfrm>
            <a:prstGeom prst="rect">
              <a:avLst/>
            </a:prstGeom>
          </p:spPr>
        </p:pic>
      </p:grpSp>
      <p:sp>
        <p:nvSpPr>
          <p:cNvPr id="21" name="Content Placeholder 2">
            <a:extLst>
              <a:ext uri="{FF2B5EF4-FFF2-40B4-BE49-F238E27FC236}">
                <a16:creationId xmlns:a16="http://schemas.microsoft.com/office/drawing/2014/main" id="{BE11918E-B10E-A16B-7D04-425A897FD0BA}"/>
              </a:ext>
            </a:extLst>
          </p:cNvPr>
          <p:cNvSpPr txBox="1">
            <a:spLocks/>
          </p:cNvSpPr>
          <p:nvPr/>
        </p:nvSpPr>
        <p:spPr>
          <a:xfrm>
            <a:off x="235394" y="1186513"/>
            <a:ext cx="9326295" cy="4807887"/>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100000"/>
              <a:buFont typeface="Arial" panose="020B0604020202020204" pitchFamily="34" charset="0"/>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100000"/>
              <a:buFont typeface="Arial" panose="020B0604020202020204" pitchFamily="34" charset="0"/>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100000"/>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100000"/>
              <a:buFont typeface="Arial" panose="020B0604020202020204" pitchFamily="34" charset="0"/>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100000"/>
              <a:buFont typeface="Arial" panose="020B0604020202020204" pitchFamily="34" charset="0"/>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457200" lvl="1" indent="0">
              <a:buFont typeface="Arial" panose="020B0604020202020204" pitchFamily="34" charset="0"/>
              <a:buNone/>
            </a:pPr>
            <a:endParaRPr lang="en-US" sz="2000" dirty="0"/>
          </a:p>
          <a:p>
            <a:pPr lvl="1"/>
            <a:r>
              <a:rPr lang="en-US" sz="2000" dirty="0"/>
              <a:t>How to navigate GitHub</a:t>
            </a:r>
          </a:p>
          <a:p>
            <a:pPr lvl="1"/>
            <a:r>
              <a:rPr lang="en-US" sz="2000" dirty="0"/>
              <a:t>How to fork a project and clone it</a:t>
            </a:r>
          </a:p>
          <a:p>
            <a:pPr lvl="1"/>
            <a:r>
              <a:rPr lang="en-US" sz="2000" dirty="0"/>
              <a:t>How to set up your </a:t>
            </a:r>
            <a:r>
              <a:rPr lang="en-US" sz="2000" dirty="0" err="1"/>
              <a:t>Git</a:t>
            </a:r>
            <a:r>
              <a:rPr lang="en-US" sz="2000" dirty="0"/>
              <a:t> identity and safely connect your local environment to your GitHub account</a:t>
            </a:r>
          </a:p>
          <a:p>
            <a:pPr lvl="1"/>
            <a:r>
              <a:rPr lang="en-US" sz="2000" dirty="0"/>
              <a:t>How to navigate the RStudio Git GUI to: </a:t>
            </a:r>
          </a:p>
          <a:p>
            <a:pPr lvl="2"/>
            <a:r>
              <a:rPr lang="en-US" sz="1800" dirty="0"/>
              <a:t>Make commits</a:t>
            </a:r>
          </a:p>
          <a:p>
            <a:pPr lvl="2"/>
            <a:r>
              <a:rPr lang="en-US" sz="1800" dirty="0"/>
              <a:t>Push commits</a:t>
            </a:r>
          </a:p>
          <a:p>
            <a:pPr lvl="2"/>
            <a:r>
              <a:rPr lang="en-US" sz="1800" dirty="0"/>
              <a:t>Create branches</a:t>
            </a:r>
          </a:p>
          <a:p>
            <a:pPr lvl="2"/>
            <a:r>
              <a:rPr lang="en-US" sz="1800" dirty="0"/>
              <a:t>Perform merges </a:t>
            </a:r>
          </a:p>
          <a:p>
            <a:pPr lvl="1"/>
            <a:r>
              <a:rPr lang="en-US" sz="2000" dirty="0"/>
              <a:t>How to perform pull requests (PRs)</a:t>
            </a:r>
          </a:p>
        </p:txBody>
      </p:sp>
    </p:spTree>
    <p:extLst>
      <p:ext uri="{BB962C8B-B14F-4D97-AF65-F5344CB8AC3E}">
        <p14:creationId xmlns:p14="http://schemas.microsoft.com/office/powerpoint/2010/main" val="40788883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re-requisites for the practical session</a:t>
            </a:r>
          </a:p>
        </p:txBody>
      </p:sp>
      <p:sp>
        <p:nvSpPr>
          <p:cNvPr id="3" name="Content Placeholder 2"/>
          <p:cNvSpPr>
            <a:spLocks noGrp="1"/>
          </p:cNvSpPr>
          <p:nvPr>
            <p:ph idx="1"/>
          </p:nvPr>
        </p:nvSpPr>
        <p:spPr/>
        <p:txBody>
          <a:bodyPr>
            <a:normAutofit/>
          </a:bodyPr>
          <a:lstStyle/>
          <a:p>
            <a:r>
              <a:rPr lang="en-GB" sz="2400" dirty="0"/>
              <a:t>Have access to Posit Cloud</a:t>
            </a:r>
          </a:p>
          <a:p>
            <a:r>
              <a:rPr lang="en-GB" sz="2400" dirty="0"/>
              <a:t>Have a GitHub account</a:t>
            </a:r>
          </a:p>
          <a:p>
            <a:endParaRPr lang="en-GB" sz="2400" dirty="0"/>
          </a:p>
          <a:p>
            <a:pPr marL="0" indent="0">
              <a:buNone/>
            </a:pPr>
            <a:r>
              <a:rPr lang="en-GB" sz="2400" dirty="0"/>
              <a:t>If you do not have a GitHub account you can follow along the live presentation.</a:t>
            </a:r>
          </a:p>
          <a:p>
            <a:pPr marL="0" indent="0">
              <a:buNone/>
            </a:pPr>
            <a:endParaRPr lang="en-GB" sz="2400" dirty="0"/>
          </a:p>
        </p:txBody>
      </p:sp>
    </p:spTree>
    <p:extLst>
      <p:ext uri="{BB962C8B-B14F-4D97-AF65-F5344CB8AC3E}">
        <p14:creationId xmlns:p14="http://schemas.microsoft.com/office/powerpoint/2010/main" val="40771172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itHub Interface (I)</a:t>
            </a:r>
          </a:p>
        </p:txBody>
      </p:sp>
      <p:sp>
        <p:nvSpPr>
          <p:cNvPr id="6" name="Content Placeholder 2"/>
          <p:cNvSpPr>
            <a:spLocks noGrp="1"/>
          </p:cNvSpPr>
          <p:nvPr>
            <p:ph idx="1"/>
          </p:nvPr>
        </p:nvSpPr>
        <p:spPr>
          <a:xfrm>
            <a:off x="539135" y="1930400"/>
            <a:ext cx="8873066" cy="3880773"/>
          </a:xfrm>
        </p:spPr>
        <p:txBody>
          <a:bodyPr>
            <a:normAutofit/>
          </a:bodyPr>
          <a:lstStyle/>
          <a:p>
            <a:pPr marL="285750" indent="-285750"/>
            <a:r>
              <a:rPr lang="en-GB" sz="2400" dirty="0"/>
              <a:t>We will use the following repo to perform all the different steps: </a:t>
            </a:r>
            <a:r>
              <a:rPr lang="en-GB" sz="2400" dirty="0">
                <a:hlinkClick r:id="rId2"/>
              </a:rPr>
              <a:t>https://github.com/PSIAIMS/git-training</a:t>
            </a:r>
            <a:endParaRPr lang="en-GB" sz="2400" dirty="0"/>
          </a:p>
          <a:p>
            <a:pPr marL="285750" indent="-285750"/>
            <a:r>
              <a:rPr lang="en-GB" sz="2400" dirty="0"/>
              <a:t>The repository is public and you are able to read the code</a:t>
            </a:r>
          </a:p>
          <a:p>
            <a:pPr marL="285750" indent="-285750"/>
            <a:r>
              <a:rPr lang="en-GB" sz="2400" dirty="0"/>
              <a:t>Since you are not part of the project, you will have to fork the repository rather than clone it to be able to make any modification</a:t>
            </a:r>
          </a:p>
        </p:txBody>
      </p:sp>
    </p:spTree>
    <p:extLst>
      <p:ext uri="{BB962C8B-B14F-4D97-AF65-F5344CB8AC3E}">
        <p14:creationId xmlns:p14="http://schemas.microsoft.com/office/powerpoint/2010/main" val="42081365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677334" y="609600"/>
            <a:ext cx="8596668" cy="1320800"/>
          </a:xfrm>
        </p:spPr>
        <p:txBody>
          <a:bodyPr/>
          <a:lstStyle/>
          <a:p>
            <a:r>
              <a:rPr lang="en-GB" dirty="0"/>
              <a:t>GitHub Interface (II)</a:t>
            </a:r>
          </a:p>
        </p:txBody>
      </p:sp>
      <p:grpSp>
        <p:nvGrpSpPr>
          <p:cNvPr id="31" name="Group 30"/>
          <p:cNvGrpSpPr/>
          <p:nvPr/>
        </p:nvGrpSpPr>
        <p:grpSpPr>
          <a:xfrm>
            <a:off x="569402" y="1573273"/>
            <a:ext cx="11279419" cy="4076397"/>
            <a:chOff x="615122" y="2121913"/>
            <a:chExt cx="11279419" cy="4076397"/>
          </a:xfrm>
        </p:grpSpPr>
        <p:grpSp>
          <p:nvGrpSpPr>
            <p:cNvPr id="26" name="Group 25"/>
            <p:cNvGrpSpPr/>
            <p:nvPr/>
          </p:nvGrpSpPr>
          <p:grpSpPr>
            <a:xfrm>
              <a:off x="615122" y="2526905"/>
              <a:ext cx="11279419" cy="3671405"/>
              <a:chOff x="615122" y="1536305"/>
              <a:chExt cx="11279419" cy="3671405"/>
            </a:xfrm>
          </p:grpSpPr>
          <p:pic>
            <p:nvPicPr>
              <p:cNvPr id="7" name="Picture 6"/>
              <p:cNvPicPr>
                <a:picLocks noChangeAspect="1"/>
              </p:cNvPicPr>
              <p:nvPr/>
            </p:nvPicPr>
            <p:blipFill>
              <a:blip r:embed="rId2"/>
              <a:stretch>
                <a:fillRect/>
              </a:stretch>
            </p:blipFill>
            <p:spPr>
              <a:xfrm>
                <a:off x="677334" y="2131135"/>
                <a:ext cx="9867900" cy="3076575"/>
              </a:xfrm>
              <a:prstGeom prst="rect">
                <a:avLst/>
              </a:prstGeom>
            </p:spPr>
          </p:pic>
          <p:sp>
            <p:nvSpPr>
              <p:cNvPr id="11" name="Oval 10"/>
              <p:cNvSpPr/>
              <p:nvPr/>
            </p:nvSpPr>
            <p:spPr>
              <a:xfrm flipH="1">
                <a:off x="1568786" y="2115434"/>
                <a:ext cx="1614680" cy="426573"/>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Oval 11"/>
              <p:cNvSpPr/>
              <p:nvPr/>
            </p:nvSpPr>
            <p:spPr>
              <a:xfrm flipH="1">
                <a:off x="2206609" y="3121136"/>
                <a:ext cx="638192" cy="426573"/>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ight Arrow 15"/>
              <p:cNvSpPr/>
              <p:nvPr/>
            </p:nvSpPr>
            <p:spPr>
              <a:xfrm rot="17829363">
                <a:off x="2310948" y="1815603"/>
                <a:ext cx="257835" cy="3920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p:cNvSpPr txBox="1"/>
              <p:nvPr/>
            </p:nvSpPr>
            <p:spPr>
              <a:xfrm>
                <a:off x="615122" y="1536305"/>
                <a:ext cx="4115999" cy="369332"/>
              </a:xfrm>
              <a:prstGeom prst="rect">
                <a:avLst/>
              </a:prstGeom>
              <a:noFill/>
            </p:spPr>
            <p:txBody>
              <a:bodyPr wrap="none" rtlCol="0">
                <a:spAutoFit/>
              </a:bodyPr>
              <a:lstStyle/>
              <a:p>
                <a:r>
                  <a:rPr lang="en-GB" dirty="0"/>
                  <a:t>You can see where the repo is located</a:t>
                </a:r>
              </a:p>
            </p:txBody>
          </p:sp>
          <p:sp>
            <p:nvSpPr>
              <p:cNvPr id="20" name="Right Arrow 19"/>
              <p:cNvSpPr/>
              <p:nvPr/>
            </p:nvSpPr>
            <p:spPr>
              <a:xfrm>
                <a:off x="2911499" y="3138397"/>
                <a:ext cx="373568" cy="3920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Box 20"/>
              <p:cNvSpPr txBox="1"/>
              <p:nvPr/>
            </p:nvSpPr>
            <p:spPr>
              <a:xfrm>
                <a:off x="3351765" y="3149756"/>
                <a:ext cx="2882520" cy="369332"/>
              </a:xfrm>
              <a:prstGeom prst="rect">
                <a:avLst/>
              </a:prstGeom>
              <a:noFill/>
            </p:spPr>
            <p:txBody>
              <a:bodyPr wrap="none" rtlCol="0">
                <a:spAutoFit/>
              </a:bodyPr>
              <a:lstStyle/>
              <a:p>
                <a:r>
                  <a:rPr lang="en-GB" dirty="0"/>
                  <a:t>It can be public or private</a:t>
                </a:r>
              </a:p>
            </p:txBody>
          </p:sp>
          <p:grpSp>
            <p:nvGrpSpPr>
              <p:cNvPr id="25" name="Group 24"/>
              <p:cNvGrpSpPr/>
              <p:nvPr/>
            </p:nvGrpSpPr>
            <p:grpSpPr>
              <a:xfrm>
                <a:off x="7659321" y="3079189"/>
                <a:ext cx="4235220" cy="1149062"/>
                <a:chOff x="7659321" y="3079189"/>
                <a:chExt cx="4235220" cy="1149062"/>
              </a:xfrm>
            </p:grpSpPr>
            <p:sp>
              <p:nvSpPr>
                <p:cNvPr id="13" name="Oval 12"/>
                <p:cNvSpPr/>
                <p:nvPr/>
              </p:nvSpPr>
              <p:spPr>
                <a:xfrm flipH="1">
                  <a:off x="7659321" y="3079189"/>
                  <a:ext cx="1360501" cy="426573"/>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ight Arrow 21"/>
                <p:cNvSpPr/>
                <p:nvPr/>
              </p:nvSpPr>
              <p:spPr>
                <a:xfrm rot="3770637" flipV="1">
                  <a:off x="8791519" y="3457695"/>
                  <a:ext cx="257835" cy="3920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p:cNvSpPr txBox="1"/>
                <p:nvPr/>
              </p:nvSpPr>
              <p:spPr>
                <a:xfrm>
                  <a:off x="8856234" y="3581920"/>
                  <a:ext cx="3038307" cy="646331"/>
                </a:xfrm>
                <a:prstGeom prst="rect">
                  <a:avLst/>
                </a:prstGeom>
                <a:noFill/>
              </p:spPr>
              <p:txBody>
                <a:bodyPr wrap="square" rtlCol="0">
                  <a:spAutoFit/>
                </a:bodyPr>
                <a:lstStyle/>
                <a:p>
                  <a:pPr algn="ctr"/>
                  <a:r>
                    <a:rPr lang="en-GB" dirty="0"/>
                    <a:t>To get the code you will have to fork from here</a:t>
                  </a:r>
                </a:p>
              </p:txBody>
            </p:sp>
          </p:grpSp>
        </p:grpSp>
        <p:grpSp>
          <p:nvGrpSpPr>
            <p:cNvPr id="27" name="Group 26"/>
            <p:cNvGrpSpPr/>
            <p:nvPr/>
          </p:nvGrpSpPr>
          <p:grpSpPr>
            <a:xfrm>
              <a:off x="5577789" y="2121913"/>
              <a:ext cx="4374042" cy="1874791"/>
              <a:chOff x="5547309" y="1146553"/>
              <a:chExt cx="4374042" cy="1874791"/>
            </a:xfrm>
          </p:grpSpPr>
          <p:sp>
            <p:nvSpPr>
              <p:cNvPr id="28" name="Oval 27"/>
              <p:cNvSpPr/>
              <p:nvPr/>
            </p:nvSpPr>
            <p:spPr>
              <a:xfrm flipH="1">
                <a:off x="6293366" y="2594771"/>
                <a:ext cx="1033123" cy="426573"/>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ight Arrow 28"/>
              <p:cNvSpPr/>
              <p:nvPr/>
            </p:nvSpPr>
            <p:spPr>
              <a:xfrm rot="17829363">
                <a:off x="6957076" y="2159292"/>
                <a:ext cx="257835" cy="3920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Box 29"/>
              <p:cNvSpPr txBox="1"/>
              <p:nvPr/>
            </p:nvSpPr>
            <p:spPr>
              <a:xfrm>
                <a:off x="5547309" y="1146553"/>
                <a:ext cx="4374042" cy="923330"/>
              </a:xfrm>
              <a:prstGeom prst="rect">
                <a:avLst/>
              </a:prstGeom>
              <a:noFill/>
            </p:spPr>
            <p:txBody>
              <a:bodyPr wrap="square" rtlCol="0">
                <a:spAutoFit/>
              </a:bodyPr>
              <a:lstStyle/>
              <a:p>
                <a:pPr algn="ctr"/>
                <a:r>
                  <a:rPr lang="en-GB" dirty="0"/>
                  <a:t>In Network graph you can have a snapshot of all the development that has occurred so far</a:t>
                </a:r>
              </a:p>
            </p:txBody>
          </p:sp>
        </p:grpSp>
      </p:grpSp>
    </p:spTree>
    <p:extLst>
      <p:ext uri="{BB962C8B-B14F-4D97-AF65-F5344CB8AC3E}">
        <p14:creationId xmlns:p14="http://schemas.microsoft.com/office/powerpoint/2010/main" val="8253090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89" y="340682"/>
            <a:ext cx="9166577" cy="1320800"/>
          </a:xfrm>
        </p:spPr>
        <p:txBody>
          <a:bodyPr/>
          <a:lstStyle/>
          <a:p>
            <a:r>
              <a:rPr lang="en-GB" dirty="0"/>
              <a:t>How to fork the project (I)</a:t>
            </a:r>
          </a:p>
        </p:txBody>
      </p:sp>
      <p:pic>
        <p:nvPicPr>
          <p:cNvPr id="4" name="Picture 3"/>
          <p:cNvPicPr>
            <a:picLocks noChangeAspect="1"/>
          </p:cNvPicPr>
          <p:nvPr/>
        </p:nvPicPr>
        <p:blipFill>
          <a:blip r:embed="rId3"/>
          <a:stretch>
            <a:fillRect/>
          </a:stretch>
        </p:blipFill>
        <p:spPr>
          <a:xfrm>
            <a:off x="4413955" y="1458281"/>
            <a:ext cx="6915488" cy="4982029"/>
          </a:xfrm>
          <a:prstGeom prst="rect">
            <a:avLst/>
          </a:prstGeom>
        </p:spPr>
      </p:pic>
      <p:sp>
        <p:nvSpPr>
          <p:cNvPr id="5" name="Content Placeholder 2"/>
          <p:cNvSpPr>
            <a:spLocks noGrp="1"/>
          </p:cNvSpPr>
          <p:nvPr>
            <p:ph idx="1"/>
          </p:nvPr>
        </p:nvSpPr>
        <p:spPr>
          <a:xfrm>
            <a:off x="304799" y="1864682"/>
            <a:ext cx="4188178" cy="3880773"/>
          </a:xfrm>
        </p:spPr>
        <p:txBody>
          <a:bodyPr>
            <a:normAutofit/>
          </a:bodyPr>
          <a:lstStyle/>
          <a:p>
            <a:pPr marL="285750" indent="-285750"/>
            <a:r>
              <a:rPr lang="en-GB" sz="2400" dirty="0"/>
              <a:t>Click on the </a:t>
            </a:r>
            <a:r>
              <a:rPr lang="en-GB" sz="2400" b="1" dirty="0"/>
              <a:t>fork</a:t>
            </a:r>
            <a:r>
              <a:rPr lang="en-GB" sz="2400" dirty="0"/>
              <a:t> option and create a new fork</a:t>
            </a:r>
          </a:p>
          <a:p>
            <a:pPr marL="285750" indent="-285750"/>
            <a:r>
              <a:rPr lang="en-GB" sz="2400" dirty="0"/>
              <a:t>You will be the owner of a copy of the project</a:t>
            </a:r>
          </a:p>
          <a:p>
            <a:pPr marL="285750" indent="-285750"/>
            <a:r>
              <a:rPr lang="en-GB" sz="2400" dirty="0"/>
              <a:t>You will now be able to make changes </a:t>
            </a:r>
          </a:p>
        </p:txBody>
      </p:sp>
    </p:spTree>
    <p:extLst>
      <p:ext uri="{BB962C8B-B14F-4D97-AF65-F5344CB8AC3E}">
        <p14:creationId xmlns:p14="http://schemas.microsoft.com/office/powerpoint/2010/main" val="20862640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stretch>
            <a:fillRect/>
          </a:stretch>
        </p:blipFill>
        <p:spPr>
          <a:xfrm>
            <a:off x="519289" y="1468703"/>
            <a:ext cx="6638925" cy="2962275"/>
          </a:xfrm>
          <a:prstGeom prst="rect">
            <a:avLst/>
          </a:prstGeom>
        </p:spPr>
      </p:pic>
      <p:sp>
        <p:nvSpPr>
          <p:cNvPr id="5" name="Title 1"/>
          <p:cNvSpPr txBox="1">
            <a:spLocks/>
          </p:cNvSpPr>
          <p:nvPr/>
        </p:nvSpPr>
        <p:spPr>
          <a:xfrm>
            <a:off x="519289" y="340682"/>
            <a:ext cx="9166577"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dirty="0"/>
              <a:t>How to fork the project (II)</a:t>
            </a:r>
          </a:p>
        </p:txBody>
      </p:sp>
      <p:grpSp>
        <p:nvGrpSpPr>
          <p:cNvPr id="9" name="Group 8"/>
          <p:cNvGrpSpPr/>
          <p:nvPr/>
        </p:nvGrpSpPr>
        <p:grpSpPr>
          <a:xfrm>
            <a:off x="4172069" y="1923523"/>
            <a:ext cx="7892226" cy="4245076"/>
            <a:chOff x="4172069" y="1923523"/>
            <a:chExt cx="7892226" cy="4245076"/>
          </a:xfrm>
        </p:grpSpPr>
        <p:sp>
          <p:nvSpPr>
            <p:cNvPr id="6" name="Oval 5"/>
            <p:cNvSpPr/>
            <p:nvPr/>
          </p:nvSpPr>
          <p:spPr>
            <a:xfrm flipH="1">
              <a:off x="5847275" y="1923523"/>
              <a:ext cx="1614680" cy="426573"/>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p:cNvPicPr>
              <a:picLocks noChangeAspect="1"/>
            </p:cNvPicPr>
            <p:nvPr/>
          </p:nvPicPr>
          <p:blipFill>
            <a:blip r:embed="rId4"/>
            <a:stretch>
              <a:fillRect/>
            </a:stretch>
          </p:blipFill>
          <p:spPr>
            <a:xfrm>
              <a:off x="4172069" y="3556000"/>
              <a:ext cx="7892226" cy="2612599"/>
            </a:xfrm>
            <a:prstGeom prst="rect">
              <a:avLst/>
            </a:prstGeom>
          </p:spPr>
        </p:pic>
        <p:sp>
          <p:nvSpPr>
            <p:cNvPr id="8" name="Right Arrow 7"/>
            <p:cNvSpPr/>
            <p:nvPr/>
          </p:nvSpPr>
          <p:spPr>
            <a:xfrm rot="3770637" flipV="1">
              <a:off x="7566295" y="2358246"/>
              <a:ext cx="257835" cy="3920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965968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2B22B-E77C-1A1F-6FA7-1FDD98A9AA03}"/>
              </a:ext>
            </a:extLst>
          </p:cNvPr>
          <p:cNvSpPr>
            <a:spLocks noGrp="1"/>
          </p:cNvSpPr>
          <p:nvPr>
            <p:ph type="title"/>
          </p:nvPr>
        </p:nvSpPr>
        <p:spPr/>
        <p:txBody>
          <a:bodyPr/>
          <a:lstStyle/>
          <a:p>
            <a:r>
              <a:rPr lang="en-US" dirty="0"/>
              <a:t>Our Environment</a:t>
            </a:r>
          </a:p>
        </p:txBody>
      </p:sp>
      <p:sp>
        <p:nvSpPr>
          <p:cNvPr id="3" name="Content Placeholder 2">
            <a:extLst>
              <a:ext uri="{FF2B5EF4-FFF2-40B4-BE49-F238E27FC236}">
                <a16:creationId xmlns:a16="http://schemas.microsoft.com/office/drawing/2014/main" id="{B64C7C90-8E94-C8C5-1A9C-D55342498A4A}"/>
              </a:ext>
            </a:extLst>
          </p:cNvPr>
          <p:cNvSpPr>
            <a:spLocks noGrp="1"/>
          </p:cNvSpPr>
          <p:nvPr>
            <p:ph idx="1"/>
          </p:nvPr>
        </p:nvSpPr>
        <p:spPr/>
        <p:txBody>
          <a:bodyPr/>
          <a:lstStyle/>
          <a:p>
            <a:r>
              <a:rPr lang="en-US" sz="3200" dirty="0"/>
              <a:t>Shiny app for theoretical exercises</a:t>
            </a:r>
          </a:p>
          <a:p>
            <a:pPr lvl="1"/>
            <a:r>
              <a:rPr lang="en-US" sz="2800" dirty="0">
                <a:hlinkClick r:id="rId3"/>
              </a:rPr>
              <a:t>https://camis.shinyapps.io/git-app/</a:t>
            </a:r>
            <a:endParaRPr lang="en-US" sz="2800" dirty="0"/>
          </a:p>
          <a:p>
            <a:r>
              <a:rPr lang="en-US" sz="3200" dirty="0"/>
              <a:t>Posit Cloud for practical exercise </a:t>
            </a:r>
          </a:p>
          <a:p>
            <a:pPr lvl="1"/>
            <a:r>
              <a:rPr lang="en-US" sz="2800" dirty="0">
                <a:hlinkClick r:id="rId4"/>
              </a:rPr>
              <a:t>https://posit.cloud/</a:t>
            </a:r>
            <a:endParaRPr lang="en-US" sz="3000" dirty="0"/>
          </a:p>
          <a:p>
            <a:pPr lvl="1"/>
            <a:endParaRPr lang="en-US" dirty="0"/>
          </a:p>
        </p:txBody>
      </p:sp>
    </p:spTree>
    <p:extLst>
      <p:ext uri="{BB962C8B-B14F-4D97-AF65-F5344CB8AC3E}">
        <p14:creationId xmlns:p14="http://schemas.microsoft.com/office/powerpoint/2010/main" val="2674768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519289" y="340682"/>
            <a:ext cx="9166577"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dirty="0"/>
              <a:t>How to fork the project (III)</a:t>
            </a:r>
          </a:p>
        </p:txBody>
      </p:sp>
      <p:pic>
        <p:nvPicPr>
          <p:cNvPr id="11" name="Picture 10">
            <a:extLst>
              <a:ext uri="{FF2B5EF4-FFF2-40B4-BE49-F238E27FC236}">
                <a16:creationId xmlns:a16="http://schemas.microsoft.com/office/drawing/2014/main" id="{6A3F1C8F-DBE2-0966-E51F-BD6D8F308FCB}"/>
              </a:ext>
            </a:extLst>
          </p:cNvPr>
          <p:cNvPicPr>
            <a:picLocks noChangeAspect="1"/>
          </p:cNvPicPr>
          <p:nvPr/>
        </p:nvPicPr>
        <p:blipFill>
          <a:blip r:embed="rId3"/>
          <a:stretch>
            <a:fillRect/>
          </a:stretch>
        </p:blipFill>
        <p:spPr>
          <a:xfrm>
            <a:off x="1580518" y="2482697"/>
            <a:ext cx="8810625" cy="3390900"/>
          </a:xfrm>
          <a:prstGeom prst="rect">
            <a:avLst/>
          </a:prstGeom>
        </p:spPr>
      </p:pic>
      <p:sp>
        <p:nvSpPr>
          <p:cNvPr id="12" name="Content Placeholder 2">
            <a:extLst>
              <a:ext uri="{FF2B5EF4-FFF2-40B4-BE49-F238E27FC236}">
                <a16:creationId xmlns:a16="http://schemas.microsoft.com/office/drawing/2014/main" id="{7A698A20-F6F0-F8DF-DB13-9BC0DE3809FF}"/>
              </a:ext>
            </a:extLst>
          </p:cNvPr>
          <p:cNvSpPr>
            <a:spLocks noGrp="1"/>
          </p:cNvSpPr>
          <p:nvPr>
            <p:ph idx="1"/>
          </p:nvPr>
        </p:nvSpPr>
        <p:spPr>
          <a:xfrm>
            <a:off x="600017" y="1488613"/>
            <a:ext cx="6759249" cy="3880773"/>
          </a:xfrm>
        </p:spPr>
        <p:txBody>
          <a:bodyPr>
            <a:normAutofit/>
          </a:bodyPr>
          <a:lstStyle/>
          <a:p>
            <a:pPr marL="285750" indent="-285750"/>
            <a:r>
              <a:rPr lang="en-GB" dirty="0"/>
              <a:t>To get the URL to your fork, click on ‘&lt;&gt; Code’</a:t>
            </a:r>
          </a:p>
          <a:p>
            <a:pPr marL="285750" indent="-285750"/>
            <a:r>
              <a:rPr lang="en-GB" dirty="0"/>
              <a:t>Copy the URL from the text box</a:t>
            </a:r>
          </a:p>
        </p:txBody>
      </p:sp>
      <p:sp>
        <p:nvSpPr>
          <p:cNvPr id="13" name="Oval 12">
            <a:extLst>
              <a:ext uri="{FF2B5EF4-FFF2-40B4-BE49-F238E27FC236}">
                <a16:creationId xmlns:a16="http://schemas.microsoft.com/office/drawing/2014/main" id="{8CE4D784-DB39-B62A-F423-34A48E3424F6}"/>
              </a:ext>
            </a:extLst>
          </p:cNvPr>
          <p:cNvSpPr/>
          <p:nvPr/>
        </p:nvSpPr>
        <p:spPr>
          <a:xfrm>
            <a:off x="9055863" y="3340863"/>
            <a:ext cx="1641513" cy="504023"/>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Oval 13">
            <a:extLst>
              <a:ext uri="{FF2B5EF4-FFF2-40B4-BE49-F238E27FC236}">
                <a16:creationId xmlns:a16="http://schemas.microsoft.com/office/drawing/2014/main" id="{A2ABB77F-7C46-00E1-343F-C58EB69617F7}"/>
              </a:ext>
            </a:extLst>
          </p:cNvPr>
          <p:cNvSpPr/>
          <p:nvPr/>
        </p:nvSpPr>
        <p:spPr>
          <a:xfrm>
            <a:off x="9597730" y="5147603"/>
            <a:ext cx="705277" cy="33339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9470826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t up your posit Cloud session</a:t>
            </a:r>
          </a:p>
        </p:txBody>
      </p:sp>
      <p:sp>
        <p:nvSpPr>
          <p:cNvPr id="3" name="Content Placeholder 2"/>
          <p:cNvSpPr>
            <a:spLocks noGrp="1"/>
          </p:cNvSpPr>
          <p:nvPr>
            <p:ph idx="1"/>
          </p:nvPr>
        </p:nvSpPr>
        <p:spPr>
          <a:xfrm>
            <a:off x="677333" y="1528411"/>
            <a:ext cx="8596668" cy="5188478"/>
          </a:xfrm>
        </p:spPr>
        <p:txBody>
          <a:bodyPr>
            <a:normAutofit/>
          </a:bodyPr>
          <a:lstStyle/>
          <a:p>
            <a:r>
              <a:rPr lang="en-GB" dirty="0"/>
              <a:t>Log into your posit cloud account: </a:t>
            </a:r>
            <a:r>
              <a:rPr lang="en-GB" dirty="0">
                <a:hlinkClick r:id="rId3"/>
              </a:rPr>
              <a:t>https://login.posit.cloud</a:t>
            </a:r>
            <a:endParaRPr lang="en-GB" dirty="0"/>
          </a:p>
          <a:p>
            <a:r>
              <a:rPr lang="en-GB" dirty="0"/>
              <a:t>In ‘Your Workspace’ create a new project from the Git repository</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Add the URL from your forked project: https://github.com/</a:t>
            </a:r>
            <a:r>
              <a:rPr lang="en-GB" b="1" dirty="0">
                <a:solidFill>
                  <a:srgbClr val="5FCBEF"/>
                </a:solidFill>
              </a:rPr>
              <a:t>irene-vassallo</a:t>
            </a:r>
            <a:r>
              <a:rPr lang="en-GB" dirty="0"/>
              <a:t>/git-training.git</a:t>
            </a:r>
          </a:p>
          <a:p>
            <a:pPr marL="0" indent="0">
              <a:buNone/>
            </a:pPr>
            <a:endParaRPr lang="en-GB" dirty="0"/>
          </a:p>
          <a:p>
            <a:pPr marL="0" indent="0">
              <a:buNone/>
            </a:pPr>
            <a:endParaRPr lang="en-GB" dirty="0"/>
          </a:p>
        </p:txBody>
      </p:sp>
      <p:grpSp>
        <p:nvGrpSpPr>
          <p:cNvPr id="6" name="Group 5"/>
          <p:cNvGrpSpPr/>
          <p:nvPr/>
        </p:nvGrpSpPr>
        <p:grpSpPr>
          <a:xfrm>
            <a:off x="779905" y="2703425"/>
            <a:ext cx="7781925" cy="2838450"/>
            <a:chOff x="1084705" y="2935464"/>
            <a:chExt cx="7781925" cy="2838450"/>
          </a:xfrm>
        </p:grpSpPr>
        <p:pic>
          <p:nvPicPr>
            <p:cNvPr id="4" name="Picture 3"/>
            <p:cNvPicPr>
              <a:picLocks noChangeAspect="1"/>
            </p:cNvPicPr>
            <p:nvPr/>
          </p:nvPicPr>
          <p:blipFill>
            <a:blip r:embed="rId4"/>
            <a:stretch>
              <a:fillRect/>
            </a:stretch>
          </p:blipFill>
          <p:spPr>
            <a:xfrm>
              <a:off x="1084705" y="2935464"/>
              <a:ext cx="7781925" cy="2838450"/>
            </a:xfrm>
            <a:prstGeom prst="rect">
              <a:avLst/>
            </a:prstGeom>
          </p:spPr>
        </p:pic>
        <p:sp>
          <p:nvSpPr>
            <p:cNvPr id="5" name="Oval 4"/>
            <p:cNvSpPr/>
            <p:nvPr/>
          </p:nvSpPr>
          <p:spPr>
            <a:xfrm flipH="1">
              <a:off x="5813409" y="5347341"/>
              <a:ext cx="2788724" cy="426573"/>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1882449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2B22B-E77C-1A1F-6FA7-1FDD98A9AA03}"/>
              </a:ext>
            </a:extLst>
          </p:cNvPr>
          <p:cNvSpPr>
            <a:spLocks noGrp="1"/>
          </p:cNvSpPr>
          <p:nvPr>
            <p:ph type="title"/>
          </p:nvPr>
        </p:nvSpPr>
        <p:spPr/>
        <p:txBody>
          <a:bodyPr/>
          <a:lstStyle/>
          <a:p>
            <a:r>
              <a:rPr lang="en-US" dirty="0"/>
              <a:t>RStudio IDE and Git GUI</a:t>
            </a:r>
          </a:p>
        </p:txBody>
      </p:sp>
      <p:sp>
        <p:nvSpPr>
          <p:cNvPr id="20" name="Content Placeholder 2">
            <a:extLst>
              <a:ext uri="{FF2B5EF4-FFF2-40B4-BE49-F238E27FC236}">
                <a16:creationId xmlns:a16="http://schemas.microsoft.com/office/drawing/2014/main" id="{BE11918E-B10E-A16B-7D04-425A897FD0BA}"/>
              </a:ext>
            </a:extLst>
          </p:cNvPr>
          <p:cNvSpPr>
            <a:spLocks noGrp="1"/>
          </p:cNvSpPr>
          <p:nvPr>
            <p:ph idx="1"/>
          </p:nvPr>
        </p:nvSpPr>
        <p:spPr>
          <a:xfrm>
            <a:off x="321919" y="1692665"/>
            <a:ext cx="10074240" cy="4956028"/>
          </a:xfrm>
        </p:spPr>
        <p:txBody>
          <a:bodyPr>
            <a:normAutofit/>
          </a:bodyPr>
          <a:lstStyle/>
          <a:p>
            <a:pPr lvl="1"/>
            <a:r>
              <a:rPr lang="en-US" sz="1800" dirty="0"/>
              <a:t>Using Posit Cloud you can copy the project called ‘’ </a:t>
            </a:r>
          </a:p>
          <a:p>
            <a:pPr lvl="1"/>
            <a:r>
              <a:rPr lang="en-US" sz="1800" dirty="0"/>
              <a:t>In your session you will see an R project with several files associated</a:t>
            </a:r>
          </a:p>
          <a:p>
            <a:pPr lvl="1"/>
            <a:r>
              <a:rPr lang="en-US" sz="1800" dirty="0"/>
              <a:t>You can see in the </a:t>
            </a:r>
            <a:r>
              <a:rPr lang="en-US" sz="1800" b="1" dirty="0">
                <a:solidFill>
                  <a:srgbClr val="4495B0"/>
                </a:solidFill>
              </a:rPr>
              <a:t>Git </a:t>
            </a:r>
            <a:r>
              <a:rPr lang="en-US" sz="1800" dirty="0">
                <a:solidFill>
                  <a:schemeClr val="tx1"/>
                </a:solidFill>
              </a:rPr>
              <a:t>tab</a:t>
            </a:r>
            <a:r>
              <a:rPr lang="en-US" sz="1800" b="1" dirty="0">
                <a:solidFill>
                  <a:srgbClr val="4495B0"/>
                </a:solidFill>
              </a:rPr>
              <a:t> </a:t>
            </a:r>
            <a:r>
              <a:rPr lang="en-US" sz="1800" dirty="0"/>
              <a:t>that you have a few changes that have been committed previously</a:t>
            </a:r>
          </a:p>
          <a:p>
            <a:pPr lvl="1"/>
            <a:r>
              <a:rPr lang="en-US" sz="1800" dirty="0"/>
              <a:t>To explore what has happened so far you can use the </a:t>
            </a:r>
            <a:r>
              <a:rPr lang="en-US" sz="1800" b="1" dirty="0">
                <a:solidFill>
                  <a:srgbClr val="C00000"/>
                </a:solidFill>
              </a:rPr>
              <a:t>history</a:t>
            </a:r>
            <a:r>
              <a:rPr lang="en-US" sz="1800" dirty="0"/>
              <a:t> tab. You will be able to follow the evolution of each change, as well as see where the tags have been placed</a:t>
            </a:r>
          </a:p>
          <a:p>
            <a:pPr lvl="1"/>
            <a:r>
              <a:rPr lang="en-US" sz="1800" dirty="0"/>
              <a:t>You can now perform additional changes and commit (with a meaningful message </a:t>
            </a:r>
            <a:r>
              <a:rPr lang="en-US" sz="1800" dirty="0">
                <a:sym typeface="Wingdings" panose="05000000000000000000" pitchFamily="2" charset="2"/>
              </a:rPr>
              <a:t></a:t>
            </a:r>
            <a:r>
              <a:rPr lang="en-US" sz="1800" dirty="0"/>
              <a:t> )</a:t>
            </a:r>
          </a:p>
          <a:p>
            <a:pPr lvl="1"/>
            <a:r>
              <a:rPr lang="en-US" sz="1800" dirty="0"/>
              <a:t>To check on which branch you are you can use the </a:t>
            </a:r>
            <a:r>
              <a:rPr lang="en-US" sz="1800" b="1" dirty="0">
                <a:solidFill>
                  <a:srgbClr val="FFC000"/>
                </a:solidFill>
              </a:rPr>
              <a:t>branch</a:t>
            </a:r>
            <a:r>
              <a:rPr lang="en-US" sz="1800" dirty="0"/>
              <a:t> tools, they will allow to create new branches and switch between them </a:t>
            </a:r>
          </a:p>
        </p:txBody>
      </p:sp>
      <p:pic>
        <p:nvPicPr>
          <p:cNvPr id="32" name="Picture 31"/>
          <p:cNvPicPr>
            <a:picLocks noChangeAspect="1"/>
          </p:cNvPicPr>
          <p:nvPr/>
        </p:nvPicPr>
        <p:blipFill>
          <a:blip r:embed="rId3"/>
          <a:stretch>
            <a:fillRect/>
          </a:stretch>
        </p:blipFill>
        <p:spPr>
          <a:xfrm>
            <a:off x="833205" y="5208772"/>
            <a:ext cx="9689845" cy="1031157"/>
          </a:xfrm>
          <a:prstGeom prst="rect">
            <a:avLst/>
          </a:prstGeom>
        </p:spPr>
      </p:pic>
      <p:sp>
        <p:nvSpPr>
          <p:cNvPr id="33" name="Oval 32"/>
          <p:cNvSpPr/>
          <p:nvPr/>
        </p:nvSpPr>
        <p:spPr>
          <a:xfrm flipH="1">
            <a:off x="4051744" y="5208772"/>
            <a:ext cx="486697" cy="409810"/>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Oval 33"/>
          <p:cNvSpPr/>
          <p:nvPr/>
        </p:nvSpPr>
        <p:spPr>
          <a:xfrm flipH="1">
            <a:off x="4633379" y="5599264"/>
            <a:ext cx="1044749" cy="40981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0000"/>
              </a:solidFill>
            </a:endParaRPr>
          </a:p>
        </p:txBody>
      </p:sp>
      <p:sp>
        <p:nvSpPr>
          <p:cNvPr id="35" name="Oval 34"/>
          <p:cNvSpPr/>
          <p:nvPr/>
        </p:nvSpPr>
        <p:spPr>
          <a:xfrm flipH="1">
            <a:off x="8416881" y="5540272"/>
            <a:ext cx="1479286" cy="468802"/>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0000"/>
              </a:solidFill>
            </a:endParaRPr>
          </a:p>
        </p:txBody>
      </p:sp>
    </p:spTree>
    <p:extLst>
      <p:ext uri="{BB962C8B-B14F-4D97-AF65-F5344CB8AC3E}">
        <p14:creationId xmlns:p14="http://schemas.microsoft.com/office/powerpoint/2010/main" val="10719086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778933"/>
          </a:xfrm>
        </p:spPr>
        <p:txBody>
          <a:bodyPr/>
          <a:lstStyle/>
          <a:p>
            <a:r>
              <a:rPr lang="en-GB" dirty="0"/>
              <a:t>Set your identity</a:t>
            </a:r>
          </a:p>
        </p:txBody>
      </p:sp>
      <p:sp>
        <p:nvSpPr>
          <p:cNvPr id="8" name="Content Placeholder 2">
            <a:extLst>
              <a:ext uri="{FF2B5EF4-FFF2-40B4-BE49-F238E27FC236}">
                <a16:creationId xmlns:a16="http://schemas.microsoft.com/office/drawing/2014/main" id="{BE11918E-B10E-A16B-7D04-425A897FD0BA}"/>
              </a:ext>
            </a:extLst>
          </p:cNvPr>
          <p:cNvSpPr>
            <a:spLocks noGrp="1"/>
          </p:cNvSpPr>
          <p:nvPr>
            <p:ph idx="1"/>
          </p:nvPr>
        </p:nvSpPr>
        <p:spPr>
          <a:xfrm>
            <a:off x="265474" y="1520972"/>
            <a:ext cx="10768286" cy="4986508"/>
          </a:xfrm>
        </p:spPr>
        <p:txBody>
          <a:bodyPr>
            <a:noAutofit/>
          </a:bodyPr>
          <a:lstStyle/>
          <a:p>
            <a:pPr marL="457200" lvl="1" indent="0">
              <a:buNone/>
            </a:pPr>
            <a:r>
              <a:rPr lang="en-GB" sz="2000" dirty="0"/>
              <a:t>Open the file called </a:t>
            </a:r>
            <a:r>
              <a:rPr lang="en-US" sz="2000" dirty="0"/>
              <a:t>‘git-</a:t>
            </a:r>
            <a:r>
              <a:rPr lang="en-US" sz="2000" dirty="0" err="1"/>
              <a:t>cred.R</a:t>
            </a:r>
            <a:r>
              <a:rPr lang="en-US" sz="2000" dirty="0"/>
              <a:t>’ -&gt; all steps are available there</a:t>
            </a:r>
          </a:p>
          <a:p>
            <a:pPr marL="457200" lvl="1" indent="0">
              <a:buNone/>
            </a:pPr>
            <a:endParaRPr lang="en-GB" sz="2000" dirty="0"/>
          </a:p>
          <a:p>
            <a:pPr lvl="1"/>
            <a:r>
              <a:rPr lang="en-GB" sz="2000" dirty="0"/>
              <a:t>Install two packages that will help with the setup: </a:t>
            </a:r>
          </a:p>
          <a:p>
            <a:pPr marL="457200" lvl="1" indent="0">
              <a:buNone/>
            </a:pPr>
            <a:endParaRPr lang="en-GB" sz="2000" dirty="0"/>
          </a:p>
          <a:p>
            <a:pPr marL="457200" lvl="1" indent="0">
              <a:buNone/>
            </a:pPr>
            <a:r>
              <a:rPr lang="en-GB" sz="2000" dirty="0"/>
              <a:t>	</a:t>
            </a:r>
            <a:r>
              <a:rPr lang="en-GB" sz="2000" dirty="0" err="1">
                <a:latin typeface="Arial monospaced for SAP" panose="020B0609020202030204" pitchFamily="49" charset="0"/>
              </a:rPr>
              <a:t>install.packages</a:t>
            </a:r>
            <a:r>
              <a:rPr lang="en-GB" sz="2000" dirty="0">
                <a:latin typeface="Arial monospaced for SAP" panose="020B0609020202030204" pitchFamily="49" charset="0"/>
              </a:rPr>
              <a:t>(c("</a:t>
            </a:r>
            <a:r>
              <a:rPr lang="en-GB" sz="2000" dirty="0" err="1">
                <a:latin typeface="Arial monospaced for SAP" panose="020B0609020202030204" pitchFamily="49" charset="0"/>
              </a:rPr>
              <a:t>usethis</a:t>
            </a:r>
            <a:r>
              <a:rPr lang="en-GB" sz="2000" dirty="0">
                <a:latin typeface="Arial monospaced for SAP" panose="020B0609020202030204" pitchFamily="49" charset="0"/>
              </a:rPr>
              <a:t>", "credentials"))</a:t>
            </a:r>
          </a:p>
          <a:p>
            <a:pPr lvl="1">
              <a:buFont typeface="Wingdings" panose="05000000000000000000" pitchFamily="2" charset="2"/>
              <a:buChar char="Ø"/>
            </a:pPr>
            <a:endParaRPr lang="en-GB" sz="2000" dirty="0"/>
          </a:p>
          <a:p>
            <a:pPr lvl="1"/>
            <a:r>
              <a:rPr lang="en-GB" sz="2000" dirty="0"/>
              <a:t>Use the ‘</a:t>
            </a:r>
            <a:r>
              <a:rPr lang="en-GB" sz="2000" dirty="0" err="1">
                <a:latin typeface="Arial monospaced for SAP" panose="020B0609020202030204" pitchFamily="49" charset="0"/>
              </a:rPr>
              <a:t>use_git_config</a:t>
            </a:r>
            <a:r>
              <a:rPr lang="en-GB" sz="2000" dirty="0">
                <a:latin typeface="Arial monospaced for SAP" panose="020B0609020202030204" pitchFamily="49" charset="0"/>
              </a:rPr>
              <a:t>()</a:t>
            </a:r>
            <a:r>
              <a:rPr lang="en-GB" sz="2000" dirty="0"/>
              <a:t>’ function to set up your user.name and email associated with your GitHub account:</a:t>
            </a:r>
          </a:p>
          <a:p>
            <a:pPr marL="457200" lvl="1" indent="0">
              <a:buNone/>
            </a:pPr>
            <a:endParaRPr lang="en-GB" sz="2000" dirty="0"/>
          </a:p>
          <a:p>
            <a:pPr marL="457200" lvl="1" indent="0">
              <a:buNone/>
            </a:pPr>
            <a:r>
              <a:rPr lang="en-GB" sz="2000" dirty="0"/>
              <a:t>	</a:t>
            </a:r>
            <a:r>
              <a:rPr lang="en-GB" sz="2000" dirty="0" err="1">
                <a:latin typeface="Arial monospaced for SAP" panose="020B0609020202030204" pitchFamily="49" charset="0"/>
              </a:rPr>
              <a:t>usethis</a:t>
            </a:r>
            <a:r>
              <a:rPr lang="en-GB" sz="2000" dirty="0">
                <a:latin typeface="Arial monospaced for SAP" panose="020B0609020202030204" pitchFamily="49" charset="0"/>
              </a:rPr>
              <a:t>::</a:t>
            </a:r>
            <a:r>
              <a:rPr lang="en-GB" sz="2000" dirty="0" err="1">
                <a:latin typeface="Arial monospaced for SAP" panose="020B0609020202030204" pitchFamily="49" charset="0"/>
              </a:rPr>
              <a:t>use_git_config</a:t>
            </a:r>
            <a:r>
              <a:rPr lang="en-GB" sz="2000" dirty="0">
                <a:latin typeface="Arial monospaced for SAP" panose="020B0609020202030204" pitchFamily="49" charset="0"/>
              </a:rPr>
              <a:t>(user.name = "</a:t>
            </a:r>
            <a:r>
              <a:rPr lang="en-GB" sz="2000" dirty="0" err="1">
                <a:latin typeface="Arial monospaced for SAP" panose="020B0609020202030204" pitchFamily="49" charset="0"/>
              </a:rPr>
              <a:t>YourUserName</a:t>
            </a:r>
            <a:r>
              <a:rPr lang="en-GB" sz="2000" dirty="0">
                <a:latin typeface="Arial monospaced for SAP" panose="020B0609020202030204" pitchFamily="49" charset="0"/>
              </a:rPr>
              <a:t>", </a:t>
            </a:r>
          </a:p>
          <a:p>
            <a:pPr marL="457200" lvl="1" indent="0">
              <a:buNone/>
            </a:pPr>
            <a:r>
              <a:rPr lang="en-GB" sz="2000" dirty="0">
                <a:latin typeface="Arial monospaced for SAP" panose="020B0609020202030204" pitchFamily="49" charset="0"/>
              </a:rPr>
              <a:t>							      </a:t>
            </a:r>
            <a:r>
              <a:rPr lang="en-GB" sz="2000" dirty="0" err="1">
                <a:latin typeface="Arial monospaced for SAP" panose="020B0609020202030204" pitchFamily="49" charset="0"/>
              </a:rPr>
              <a:t>user.email</a:t>
            </a:r>
            <a:r>
              <a:rPr lang="en-GB" sz="2000" dirty="0">
                <a:latin typeface="Arial monospaced for SAP" panose="020B0609020202030204" pitchFamily="49" charset="0"/>
              </a:rPr>
              <a:t> = "your@email.com")</a:t>
            </a:r>
          </a:p>
          <a:p>
            <a:pPr lvl="1"/>
            <a:endParaRPr lang="en-US" sz="2000" dirty="0"/>
          </a:p>
        </p:txBody>
      </p:sp>
    </p:spTree>
    <p:extLst>
      <p:ext uri="{BB962C8B-B14F-4D97-AF65-F5344CB8AC3E}">
        <p14:creationId xmlns:p14="http://schemas.microsoft.com/office/powerpoint/2010/main" val="16857742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t your Personal Access Token (I)</a:t>
            </a:r>
          </a:p>
        </p:txBody>
      </p:sp>
      <p:sp>
        <p:nvSpPr>
          <p:cNvPr id="8" name="Rectangle 7"/>
          <p:cNvSpPr/>
          <p:nvPr/>
        </p:nvSpPr>
        <p:spPr>
          <a:xfrm>
            <a:off x="677334" y="1465620"/>
            <a:ext cx="8596668" cy="1200329"/>
          </a:xfrm>
          <a:prstGeom prst="rect">
            <a:avLst/>
          </a:prstGeom>
        </p:spPr>
        <p:txBody>
          <a:bodyPr wrap="square">
            <a:spAutoFit/>
          </a:bodyPr>
          <a:lstStyle/>
          <a:p>
            <a:r>
              <a:rPr lang="en-GB" dirty="0"/>
              <a:t>To set up the PAT execute the following code:</a:t>
            </a:r>
          </a:p>
          <a:p>
            <a:endParaRPr lang="en-GB" dirty="0"/>
          </a:p>
          <a:p>
            <a:r>
              <a:rPr lang="en-GB" dirty="0"/>
              <a:t> </a:t>
            </a:r>
            <a:r>
              <a:rPr lang="en-GB" dirty="0" err="1">
                <a:latin typeface="Arial monospaced for SAP" panose="020B0609020202030204" pitchFamily="49" charset="0"/>
              </a:rPr>
              <a:t>usethis</a:t>
            </a:r>
            <a:r>
              <a:rPr lang="en-GB" dirty="0">
                <a:latin typeface="Arial monospaced for SAP" panose="020B0609020202030204" pitchFamily="49" charset="0"/>
              </a:rPr>
              <a:t>::</a:t>
            </a:r>
            <a:r>
              <a:rPr lang="en-GB" dirty="0" err="1">
                <a:latin typeface="Arial monospaced for SAP" panose="020B0609020202030204" pitchFamily="49" charset="0"/>
              </a:rPr>
              <a:t>create_github_token</a:t>
            </a:r>
            <a:r>
              <a:rPr lang="en-GB" dirty="0">
                <a:latin typeface="Arial monospaced for SAP" panose="020B0609020202030204" pitchFamily="49" charset="0"/>
              </a:rPr>
              <a:t>()</a:t>
            </a:r>
          </a:p>
          <a:p>
            <a:endParaRPr lang="en-GB" dirty="0"/>
          </a:p>
        </p:txBody>
      </p:sp>
      <p:grpSp>
        <p:nvGrpSpPr>
          <p:cNvPr id="6" name="Group 5"/>
          <p:cNvGrpSpPr/>
          <p:nvPr/>
        </p:nvGrpSpPr>
        <p:grpSpPr>
          <a:xfrm>
            <a:off x="677334" y="2610683"/>
            <a:ext cx="7324725" cy="4247317"/>
            <a:chOff x="677334" y="2610683"/>
            <a:chExt cx="7324725" cy="4247317"/>
          </a:xfrm>
        </p:grpSpPr>
        <p:pic>
          <p:nvPicPr>
            <p:cNvPr id="9" name="Picture 8"/>
            <p:cNvPicPr>
              <a:picLocks noChangeAspect="1"/>
            </p:cNvPicPr>
            <p:nvPr/>
          </p:nvPicPr>
          <p:blipFill>
            <a:blip r:embed="rId3"/>
            <a:stretch>
              <a:fillRect/>
            </a:stretch>
          </p:blipFill>
          <p:spPr>
            <a:xfrm>
              <a:off x="677334" y="3157538"/>
              <a:ext cx="7324725" cy="2657475"/>
            </a:xfrm>
            <a:prstGeom prst="rect">
              <a:avLst/>
            </a:prstGeom>
          </p:spPr>
        </p:pic>
        <p:pic>
          <p:nvPicPr>
            <p:cNvPr id="3" name="Picture 2"/>
            <p:cNvPicPr>
              <a:picLocks noChangeAspect="1"/>
            </p:cNvPicPr>
            <p:nvPr/>
          </p:nvPicPr>
          <p:blipFill>
            <a:blip r:embed="rId4"/>
            <a:stretch>
              <a:fillRect/>
            </a:stretch>
          </p:blipFill>
          <p:spPr>
            <a:xfrm>
              <a:off x="1648883" y="6000750"/>
              <a:ext cx="1765345" cy="543183"/>
            </a:xfrm>
            <a:prstGeom prst="rect">
              <a:avLst/>
            </a:prstGeom>
          </p:spPr>
        </p:pic>
        <p:sp>
          <p:nvSpPr>
            <p:cNvPr id="5" name="TextBox 4"/>
            <p:cNvSpPr txBox="1"/>
            <p:nvPr/>
          </p:nvSpPr>
          <p:spPr>
            <a:xfrm>
              <a:off x="677334" y="2610683"/>
              <a:ext cx="7194598" cy="4247317"/>
            </a:xfrm>
            <a:prstGeom prst="rect">
              <a:avLst/>
            </a:prstGeom>
            <a:noFill/>
          </p:spPr>
          <p:txBody>
            <a:bodyPr wrap="none" rtlCol="0">
              <a:spAutoFit/>
            </a:bodyPr>
            <a:lstStyle/>
            <a:p>
              <a:r>
                <a:rPr lang="en-GB" dirty="0"/>
                <a:t>The GitHub sign-in page will open, and after sign-in you should see:</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Click on                             at the end of the page</a:t>
              </a:r>
            </a:p>
            <a:p>
              <a:endParaRPr lang="en-GB" dirty="0"/>
            </a:p>
          </p:txBody>
        </p:sp>
      </p:grpSp>
    </p:spTree>
    <p:extLst>
      <p:ext uri="{BB962C8B-B14F-4D97-AF65-F5344CB8AC3E}">
        <p14:creationId xmlns:p14="http://schemas.microsoft.com/office/powerpoint/2010/main" val="2839040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t your Personal Access Token (II)</a:t>
            </a:r>
          </a:p>
        </p:txBody>
      </p:sp>
      <p:sp>
        <p:nvSpPr>
          <p:cNvPr id="8" name="Rectangle 7"/>
          <p:cNvSpPr/>
          <p:nvPr/>
        </p:nvSpPr>
        <p:spPr>
          <a:xfrm>
            <a:off x="677334" y="1630740"/>
            <a:ext cx="8596668" cy="2585323"/>
          </a:xfrm>
          <a:prstGeom prst="rect">
            <a:avLst/>
          </a:prstGeom>
        </p:spPr>
        <p:txBody>
          <a:bodyPr wrap="square">
            <a:spAutoFit/>
          </a:bodyPr>
          <a:lstStyle/>
          <a:p>
            <a:r>
              <a:rPr lang="en-GB" dirty="0"/>
              <a:t>You should copy the newly generated token. You will not be able to see it twice!</a:t>
            </a:r>
          </a:p>
          <a:p>
            <a:endParaRPr lang="en-GB" dirty="0"/>
          </a:p>
          <a:p>
            <a:r>
              <a:rPr lang="en-GB" dirty="0"/>
              <a:t>It should be a long string of number and characters starting with:  </a:t>
            </a:r>
            <a:r>
              <a:rPr lang="en-GB" dirty="0" err="1"/>
              <a:t>ghp</a:t>
            </a:r>
            <a:r>
              <a:rPr lang="en-GB" dirty="0"/>
              <a:t>…. </a:t>
            </a:r>
          </a:p>
          <a:p>
            <a:endParaRPr lang="en-GB" dirty="0"/>
          </a:p>
          <a:p>
            <a:endParaRPr lang="en-GB" dirty="0"/>
          </a:p>
          <a:p>
            <a:endParaRPr lang="en-GB" dirty="0"/>
          </a:p>
          <a:p>
            <a:endParaRPr lang="en-GB" dirty="0"/>
          </a:p>
          <a:p>
            <a:endParaRPr lang="en-GB" dirty="0"/>
          </a:p>
          <a:p>
            <a:endParaRPr lang="en-GB" dirty="0"/>
          </a:p>
        </p:txBody>
      </p:sp>
      <p:sp>
        <p:nvSpPr>
          <p:cNvPr id="12" name="Rectangle 11"/>
          <p:cNvSpPr/>
          <p:nvPr/>
        </p:nvSpPr>
        <p:spPr>
          <a:xfrm>
            <a:off x="677334" y="3338899"/>
            <a:ext cx="8596668" cy="2031325"/>
          </a:xfrm>
          <a:prstGeom prst="rect">
            <a:avLst/>
          </a:prstGeom>
        </p:spPr>
        <p:txBody>
          <a:bodyPr wrap="square">
            <a:spAutoFit/>
          </a:bodyPr>
          <a:lstStyle/>
          <a:p>
            <a:r>
              <a:rPr lang="en-GB" dirty="0"/>
              <a:t>In the R console execute the following line:</a:t>
            </a:r>
          </a:p>
          <a:p>
            <a:endParaRPr lang="en-US" dirty="0"/>
          </a:p>
          <a:p>
            <a:r>
              <a:rPr lang="en-GB" dirty="0">
                <a:latin typeface="Arial monospaced for SAP" panose="020B0609020202030204" pitchFamily="49" charset="0"/>
              </a:rPr>
              <a:t>credentials::</a:t>
            </a:r>
            <a:r>
              <a:rPr lang="en-GB" dirty="0" err="1">
                <a:latin typeface="Arial monospaced for SAP" panose="020B0609020202030204" pitchFamily="49" charset="0"/>
              </a:rPr>
              <a:t>set_github_pat</a:t>
            </a:r>
            <a:r>
              <a:rPr lang="en-GB" dirty="0">
                <a:latin typeface="Arial monospaced for SAP" panose="020B0609020202030204" pitchFamily="49" charset="0"/>
              </a:rPr>
              <a:t>()</a:t>
            </a:r>
          </a:p>
          <a:p>
            <a:endParaRPr lang="en-GB" dirty="0"/>
          </a:p>
          <a:p>
            <a:r>
              <a:rPr lang="en-GB" dirty="0"/>
              <a:t>A window should pop up asking you to copy your new token.</a:t>
            </a:r>
          </a:p>
          <a:p>
            <a:endParaRPr lang="en-GB" dirty="0"/>
          </a:p>
          <a:p>
            <a:endParaRPr lang="en-GB" dirty="0"/>
          </a:p>
        </p:txBody>
      </p:sp>
    </p:spTree>
    <p:extLst>
      <p:ext uri="{BB962C8B-B14F-4D97-AF65-F5344CB8AC3E}">
        <p14:creationId xmlns:p14="http://schemas.microsoft.com/office/powerpoint/2010/main" val="249655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AB8F4-742D-DAF5-2A22-6E81EFC32949}"/>
              </a:ext>
            </a:extLst>
          </p:cNvPr>
          <p:cNvSpPr>
            <a:spLocks noGrp="1"/>
          </p:cNvSpPr>
          <p:nvPr>
            <p:ph type="title"/>
          </p:nvPr>
        </p:nvSpPr>
        <p:spPr/>
        <p:txBody>
          <a:bodyPr/>
          <a:lstStyle/>
          <a:p>
            <a:r>
              <a:rPr lang="en-US" dirty="0"/>
              <a:t>Making a commit</a:t>
            </a:r>
          </a:p>
        </p:txBody>
      </p:sp>
      <p:sp>
        <p:nvSpPr>
          <p:cNvPr id="5" name="Content Placeholder 2">
            <a:extLst>
              <a:ext uri="{FF2B5EF4-FFF2-40B4-BE49-F238E27FC236}">
                <a16:creationId xmlns:a16="http://schemas.microsoft.com/office/drawing/2014/main" id="{BE11918E-B10E-A16B-7D04-425A897FD0BA}"/>
              </a:ext>
            </a:extLst>
          </p:cNvPr>
          <p:cNvSpPr>
            <a:spLocks noGrp="1"/>
          </p:cNvSpPr>
          <p:nvPr>
            <p:ph idx="1"/>
          </p:nvPr>
        </p:nvSpPr>
        <p:spPr>
          <a:xfrm>
            <a:off x="0" y="1055584"/>
            <a:ext cx="10074240" cy="6011259"/>
          </a:xfrm>
        </p:spPr>
        <p:txBody>
          <a:bodyPr>
            <a:normAutofit/>
          </a:bodyPr>
          <a:lstStyle/>
          <a:p>
            <a:pPr marL="457200" lvl="1" indent="0">
              <a:buNone/>
            </a:pPr>
            <a:endParaRPr lang="en-GB" sz="1800" dirty="0"/>
          </a:p>
          <a:p>
            <a:pPr lvl="1"/>
            <a:r>
              <a:rPr lang="en-GB" sz="1800" dirty="0"/>
              <a:t>Copy the README.md file and name it yourname_README.md (this will avoid too many conflicts in the next steps)</a:t>
            </a:r>
          </a:p>
          <a:p>
            <a:pPr lvl="1"/>
            <a:r>
              <a:rPr lang="en-GB" sz="1800" dirty="0"/>
              <a:t>You will see the newly performed change appear in the Git Tab</a:t>
            </a:r>
          </a:p>
          <a:p>
            <a:pPr lvl="1"/>
            <a:endParaRPr lang="en-GB" sz="1800" dirty="0"/>
          </a:p>
          <a:p>
            <a:pPr lvl="1"/>
            <a:endParaRPr lang="en-GB" sz="1800" dirty="0"/>
          </a:p>
          <a:p>
            <a:pPr lvl="1"/>
            <a:endParaRPr lang="en-GB" sz="1800" dirty="0"/>
          </a:p>
          <a:p>
            <a:pPr lvl="1"/>
            <a:endParaRPr lang="en-GB" sz="1800" dirty="0"/>
          </a:p>
          <a:p>
            <a:pPr lvl="1"/>
            <a:endParaRPr lang="en-GB" sz="1800" dirty="0"/>
          </a:p>
          <a:p>
            <a:pPr lvl="1"/>
            <a:endParaRPr lang="en-GB" sz="1800" dirty="0"/>
          </a:p>
          <a:p>
            <a:pPr lvl="1"/>
            <a:endParaRPr lang="en-GB" sz="1800" dirty="0"/>
          </a:p>
          <a:p>
            <a:pPr lvl="1"/>
            <a:endParaRPr lang="en-GB" sz="1800" dirty="0"/>
          </a:p>
          <a:p>
            <a:pPr lvl="1"/>
            <a:r>
              <a:rPr lang="en-GB" sz="1800" dirty="0"/>
              <a:t>You can ‘stage’ the file you want to commit, click on commit and add a message and finally push to remote</a:t>
            </a:r>
          </a:p>
          <a:p>
            <a:pPr lvl="1"/>
            <a:r>
              <a:rPr lang="en-GB" sz="1800" dirty="0"/>
              <a:t>You will find your new change in the history graph</a:t>
            </a:r>
          </a:p>
          <a:p>
            <a:pPr lvl="1"/>
            <a:endParaRPr lang="en-GB" sz="1800" dirty="0"/>
          </a:p>
          <a:p>
            <a:pPr lvl="1"/>
            <a:endParaRPr lang="en-GB" sz="1800" dirty="0"/>
          </a:p>
        </p:txBody>
      </p:sp>
      <p:pic>
        <p:nvPicPr>
          <p:cNvPr id="4" name="Picture 3"/>
          <p:cNvPicPr>
            <a:picLocks noChangeAspect="1"/>
          </p:cNvPicPr>
          <p:nvPr/>
        </p:nvPicPr>
        <p:blipFill>
          <a:blip r:embed="rId3"/>
          <a:stretch>
            <a:fillRect/>
          </a:stretch>
        </p:blipFill>
        <p:spPr>
          <a:xfrm>
            <a:off x="1365693" y="2746199"/>
            <a:ext cx="7219950" cy="2562225"/>
          </a:xfrm>
          <a:prstGeom prst="rect">
            <a:avLst/>
          </a:prstGeom>
        </p:spPr>
      </p:pic>
    </p:spTree>
    <p:extLst>
      <p:ext uri="{BB962C8B-B14F-4D97-AF65-F5344CB8AC3E}">
        <p14:creationId xmlns:p14="http://schemas.microsoft.com/office/powerpoint/2010/main" val="42778768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034" y="595312"/>
            <a:ext cx="8596668" cy="1320800"/>
          </a:xfrm>
        </p:spPr>
        <p:txBody>
          <a:bodyPr>
            <a:normAutofit/>
          </a:bodyPr>
          <a:lstStyle/>
          <a:p>
            <a:r>
              <a:rPr lang="en-GB" dirty="0"/>
              <a:t>Create a new branch</a:t>
            </a:r>
          </a:p>
        </p:txBody>
      </p:sp>
      <p:pic>
        <p:nvPicPr>
          <p:cNvPr id="5" name="Picture 4"/>
          <p:cNvPicPr>
            <a:picLocks noChangeAspect="1"/>
          </p:cNvPicPr>
          <p:nvPr/>
        </p:nvPicPr>
        <p:blipFill>
          <a:blip r:embed="rId3"/>
          <a:stretch>
            <a:fillRect/>
          </a:stretch>
        </p:blipFill>
        <p:spPr>
          <a:xfrm>
            <a:off x="563034" y="3184826"/>
            <a:ext cx="5422037" cy="3255786"/>
          </a:xfrm>
          <a:prstGeom prst="rect">
            <a:avLst/>
          </a:prstGeom>
        </p:spPr>
      </p:pic>
      <p:pic>
        <p:nvPicPr>
          <p:cNvPr id="6" name="Picture 5"/>
          <p:cNvPicPr>
            <a:picLocks noChangeAspect="1"/>
          </p:cNvPicPr>
          <p:nvPr/>
        </p:nvPicPr>
        <p:blipFill>
          <a:blip r:embed="rId4"/>
          <a:stretch>
            <a:fillRect/>
          </a:stretch>
        </p:blipFill>
        <p:spPr>
          <a:xfrm>
            <a:off x="373077" y="1354931"/>
            <a:ext cx="7197800" cy="1283858"/>
          </a:xfrm>
          <a:prstGeom prst="rect">
            <a:avLst/>
          </a:prstGeom>
        </p:spPr>
      </p:pic>
      <p:sp>
        <p:nvSpPr>
          <p:cNvPr id="7" name="Oval 6"/>
          <p:cNvSpPr/>
          <p:nvPr/>
        </p:nvSpPr>
        <p:spPr>
          <a:xfrm flipH="1">
            <a:off x="4027274" y="1794288"/>
            <a:ext cx="1672485" cy="461232"/>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Down Arrow 7"/>
          <p:cNvSpPr/>
          <p:nvPr/>
        </p:nvSpPr>
        <p:spPr>
          <a:xfrm rot="1977151">
            <a:off x="4240888" y="2593703"/>
            <a:ext cx="620296" cy="968886"/>
          </a:xfrm>
          <a:prstGeom prst="downArrow">
            <a:avLst>
              <a:gd name="adj1" fmla="val 20588"/>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p:cNvSpPr txBox="1"/>
          <p:nvPr/>
        </p:nvSpPr>
        <p:spPr>
          <a:xfrm flipH="1">
            <a:off x="6355078" y="4693920"/>
            <a:ext cx="3840481" cy="1200329"/>
          </a:xfrm>
          <a:prstGeom prst="rect">
            <a:avLst/>
          </a:prstGeom>
          <a:noFill/>
        </p:spPr>
        <p:txBody>
          <a:bodyPr wrap="square" rtlCol="0">
            <a:spAutoFit/>
          </a:bodyPr>
          <a:lstStyle/>
          <a:p>
            <a:r>
              <a:rPr lang="en-GB" dirty="0"/>
              <a:t>You can now perform changes in the branch, and when you push to remote it will stay separate from main </a:t>
            </a:r>
          </a:p>
        </p:txBody>
      </p:sp>
    </p:spTree>
    <p:extLst>
      <p:ext uri="{BB962C8B-B14F-4D97-AF65-F5344CB8AC3E}">
        <p14:creationId xmlns:p14="http://schemas.microsoft.com/office/powerpoint/2010/main" val="36862016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594360"/>
            <a:ext cx="8596668" cy="1320800"/>
          </a:xfrm>
        </p:spPr>
        <p:txBody>
          <a:bodyPr/>
          <a:lstStyle/>
          <a:p>
            <a:r>
              <a:rPr lang="en-GB" dirty="0"/>
              <a:t>Merge your new branch into main</a:t>
            </a:r>
          </a:p>
        </p:txBody>
      </p:sp>
      <p:pic>
        <p:nvPicPr>
          <p:cNvPr id="4" name="Picture 3"/>
          <p:cNvPicPr>
            <a:picLocks noChangeAspect="1"/>
          </p:cNvPicPr>
          <p:nvPr/>
        </p:nvPicPr>
        <p:blipFill>
          <a:blip r:embed="rId2"/>
          <a:stretch>
            <a:fillRect/>
          </a:stretch>
        </p:blipFill>
        <p:spPr>
          <a:xfrm>
            <a:off x="677334" y="1521142"/>
            <a:ext cx="7981950" cy="1438275"/>
          </a:xfrm>
          <a:prstGeom prst="rect">
            <a:avLst/>
          </a:prstGeom>
        </p:spPr>
      </p:pic>
      <p:pic>
        <p:nvPicPr>
          <p:cNvPr id="5" name="Picture 4"/>
          <p:cNvPicPr>
            <a:picLocks noChangeAspect="1"/>
          </p:cNvPicPr>
          <p:nvPr/>
        </p:nvPicPr>
        <p:blipFill>
          <a:blip r:embed="rId3"/>
          <a:stretch>
            <a:fillRect/>
          </a:stretch>
        </p:blipFill>
        <p:spPr>
          <a:xfrm>
            <a:off x="2348865" y="4288691"/>
            <a:ext cx="8134350" cy="1971675"/>
          </a:xfrm>
          <a:prstGeom prst="rect">
            <a:avLst/>
          </a:prstGeom>
        </p:spPr>
      </p:pic>
      <p:sp>
        <p:nvSpPr>
          <p:cNvPr id="6" name="TextBox 5"/>
          <p:cNvSpPr txBox="1"/>
          <p:nvPr/>
        </p:nvSpPr>
        <p:spPr>
          <a:xfrm>
            <a:off x="883920" y="3642360"/>
            <a:ext cx="9814560" cy="646331"/>
          </a:xfrm>
          <a:prstGeom prst="rect">
            <a:avLst/>
          </a:prstGeom>
          <a:noFill/>
        </p:spPr>
        <p:txBody>
          <a:bodyPr wrap="square" rtlCol="0">
            <a:spAutoFit/>
          </a:bodyPr>
          <a:lstStyle/>
          <a:p>
            <a:r>
              <a:rPr lang="en-GB" dirty="0"/>
              <a:t>If you want to merge your branch into main you can go to GitHub and you should see the following: </a:t>
            </a:r>
          </a:p>
        </p:txBody>
      </p:sp>
    </p:spTree>
    <p:extLst>
      <p:ext uri="{BB962C8B-B14F-4D97-AF65-F5344CB8AC3E}">
        <p14:creationId xmlns:p14="http://schemas.microsoft.com/office/powerpoint/2010/main" val="35488789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tting up the pull request to merge the branch</a:t>
            </a:r>
          </a:p>
        </p:txBody>
      </p:sp>
      <p:pic>
        <p:nvPicPr>
          <p:cNvPr id="5" name="Content Placeholder 4"/>
          <p:cNvPicPr>
            <a:picLocks noGrp="1" noChangeAspect="1"/>
          </p:cNvPicPr>
          <p:nvPr>
            <p:ph idx="1"/>
          </p:nvPr>
        </p:nvPicPr>
        <p:blipFill rotWithShape="1">
          <a:blip r:embed="rId2"/>
          <a:srcRect r="10425" b="3580"/>
          <a:stretch/>
        </p:blipFill>
        <p:spPr>
          <a:xfrm>
            <a:off x="494983" y="4421755"/>
            <a:ext cx="10767377" cy="820805"/>
          </a:xfrm>
          <a:prstGeom prst="rect">
            <a:avLst/>
          </a:prstGeom>
        </p:spPr>
      </p:pic>
      <p:pic>
        <p:nvPicPr>
          <p:cNvPr id="4" name="Picture 3"/>
          <p:cNvPicPr>
            <a:picLocks noChangeAspect="1"/>
          </p:cNvPicPr>
          <p:nvPr/>
        </p:nvPicPr>
        <p:blipFill>
          <a:blip r:embed="rId3"/>
          <a:stretch>
            <a:fillRect/>
          </a:stretch>
        </p:blipFill>
        <p:spPr>
          <a:xfrm>
            <a:off x="677334" y="2145030"/>
            <a:ext cx="10391775" cy="1104900"/>
          </a:xfrm>
          <a:prstGeom prst="rect">
            <a:avLst/>
          </a:prstGeom>
        </p:spPr>
      </p:pic>
      <p:sp>
        <p:nvSpPr>
          <p:cNvPr id="6" name="Oval 5"/>
          <p:cNvSpPr/>
          <p:nvPr/>
        </p:nvSpPr>
        <p:spPr>
          <a:xfrm>
            <a:off x="1234440" y="2148840"/>
            <a:ext cx="3078480" cy="67056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Down Arrow 6"/>
          <p:cNvSpPr/>
          <p:nvPr/>
        </p:nvSpPr>
        <p:spPr>
          <a:xfrm>
            <a:off x="2463532" y="3114175"/>
            <a:ext cx="620296" cy="407236"/>
          </a:xfrm>
          <a:prstGeom prst="downArrow">
            <a:avLst>
              <a:gd name="adj1" fmla="val 20588"/>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p:cNvSpPr txBox="1"/>
          <p:nvPr/>
        </p:nvSpPr>
        <p:spPr>
          <a:xfrm flipH="1">
            <a:off x="677334" y="3521411"/>
            <a:ext cx="8077201" cy="369332"/>
          </a:xfrm>
          <a:prstGeom prst="rect">
            <a:avLst/>
          </a:prstGeom>
          <a:noFill/>
        </p:spPr>
        <p:txBody>
          <a:bodyPr wrap="square" rtlCol="0">
            <a:spAutoFit/>
          </a:bodyPr>
          <a:lstStyle/>
          <a:p>
            <a:r>
              <a:rPr lang="en-GB" dirty="0"/>
              <a:t>Change to your own project: in my case </a:t>
            </a:r>
            <a:r>
              <a:rPr lang="en-GB" dirty="0" err="1"/>
              <a:t>irene-vassallo</a:t>
            </a:r>
            <a:r>
              <a:rPr lang="en-GB" dirty="0"/>
              <a:t>/git-training</a:t>
            </a:r>
          </a:p>
        </p:txBody>
      </p:sp>
      <p:sp>
        <p:nvSpPr>
          <p:cNvPr id="9" name="Down Arrow 8"/>
          <p:cNvSpPr/>
          <p:nvPr/>
        </p:nvSpPr>
        <p:spPr>
          <a:xfrm>
            <a:off x="2463532" y="4014519"/>
            <a:ext cx="620296" cy="407236"/>
          </a:xfrm>
          <a:prstGeom prst="downArrow">
            <a:avLst>
              <a:gd name="adj1" fmla="val 20588"/>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p:cNvSpPr txBox="1"/>
          <p:nvPr/>
        </p:nvSpPr>
        <p:spPr>
          <a:xfrm flipH="1">
            <a:off x="677334" y="5410639"/>
            <a:ext cx="8077201" cy="369332"/>
          </a:xfrm>
          <a:prstGeom prst="rect">
            <a:avLst/>
          </a:prstGeom>
          <a:noFill/>
        </p:spPr>
        <p:txBody>
          <a:bodyPr wrap="square" rtlCol="0">
            <a:spAutoFit/>
          </a:bodyPr>
          <a:lstStyle/>
          <a:p>
            <a:r>
              <a:rPr lang="en-GB" dirty="0"/>
              <a:t>Click on create pull request</a:t>
            </a:r>
          </a:p>
        </p:txBody>
      </p:sp>
    </p:spTree>
    <p:extLst>
      <p:ext uri="{BB962C8B-B14F-4D97-AF65-F5344CB8AC3E}">
        <p14:creationId xmlns:p14="http://schemas.microsoft.com/office/powerpoint/2010/main" val="3243501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461A4-6CF2-786E-9B9A-FC795BC1FC20}"/>
              </a:ext>
            </a:extLst>
          </p:cNvPr>
          <p:cNvSpPr>
            <a:spLocks noGrp="1"/>
          </p:cNvSpPr>
          <p:nvPr>
            <p:ph type="title"/>
          </p:nvPr>
        </p:nvSpPr>
        <p:spPr/>
        <p:txBody>
          <a:bodyPr/>
          <a:lstStyle/>
          <a:p>
            <a:r>
              <a:rPr lang="en-US" dirty="0"/>
              <a:t>What is Git?</a:t>
            </a:r>
          </a:p>
        </p:txBody>
      </p:sp>
      <p:sp>
        <p:nvSpPr>
          <p:cNvPr id="3" name="Content Placeholder 2">
            <a:extLst>
              <a:ext uri="{FF2B5EF4-FFF2-40B4-BE49-F238E27FC236}">
                <a16:creationId xmlns:a16="http://schemas.microsoft.com/office/drawing/2014/main" id="{BE11918E-B10E-A16B-7D04-425A897FD0BA}"/>
              </a:ext>
            </a:extLst>
          </p:cNvPr>
          <p:cNvSpPr>
            <a:spLocks noGrp="1"/>
          </p:cNvSpPr>
          <p:nvPr>
            <p:ph idx="1"/>
          </p:nvPr>
        </p:nvSpPr>
        <p:spPr/>
        <p:txBody>
          <a:bodyPr/>
          <a:lstStyle/>
          <a:p>
            <a:r>
              <a:rPr lang="en-US" sz="2400" dirty="0"/>
              <a:t>Git is a version control system</a:t>
            </a:r>
          </a:p>
          <a:p>
            <a:pPr lvl="1"/>
            <a:r>
              <a:rPr lang="en-US" sz="2000" dirty="0"/>
              <a:t>Created by the maker of Linux (Linus Torvalds) to help make Linux</a:t>
            </a:r>
          </a:p>
          <a:p>
            <a:pPr lvl="1"/>
            <a:r>
              <a:rPr lang="en-US" sz="2000" dirty="0"/>
              <a:t>Git is the system that manages the versioning, but GitHub is the cloud-based service to manage Git repositories. Other hosting services do exist like Gitlab or Bitbucket </a:t>
            </a:r>
            <a:endParaRPr lang="en-US" sz="2800" dirty="0"/>
          </a:p>
          <a:p>
            <a:pPr lvl="1"/>
            <a:endParaRPr lang="en-US" dirty="0"/>
          </a:p>
        </p:txBody>
      </p:sp>
      <p:grpSp>
        <p:nvGrpSpPr>
          <p:cNvPr id="15" name="Group 14">
            <a:extLst>
              <a:ext uri="{FF2B5EF4-FFF2-40B4-BE49-F238E27FC236}">
                <a16:creationId xmlns:a16="http://schemas.microsoft.com/office/drawing/2014/main" id="{C285E6FE-50E6-C451-3A79-1707C6B0F841}"/>
              </a:ext>
            </a:extLst>
          </p:cNvPr>
          <p:cNvGrpSpPr/>
          <p:nvPr/>
        </p:nvGrpSpPr>
        <p:grpSpPr>
          <a:xfrm>
            <a:off x="1366127" y="3730975"/>
            <a:ext cx="3071935" cy="3053654"/>
            <a:chOff x="1366127" y="3804346"/>
            <a:chExt cx="3071935" cy="3053654"/>
          </a:xfrm>
        </p:grpSpPr>
        <p:pic>
          <p:nvPicPr>
            <p:cNvPr id="7" name="Graphic 6">
              <a:extLst>
                <a:ext uri="{FF2B5EF4-FFF2-40B4-BE49-F238E27FC236}">
                  <a16:creationId xmlns:a16="http://schemas.microsoft.com/office/drawing/2014/main" id="{11D2575E-6508-6DC5-4AB5-C85697FA23BF}"/>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7713" y="4739303"/>
              <a:ext cx="858683" cy="858683"/>
            </a:xfrm>
            <a:prstGeom prst="rect">
              <a:avLst/>
            </a:prstGeom>
          </p:spPr>
        </p:pic>
        <p:grpSp>
          <p:nvGrpSpPr>
            <p:cNvPr id="14" name="Group 13">
              <a:extLst>
                <a:ext uri="{FF2B5EF4-FFF2-40B4-BE49-F238E27FC236}">
                  <a16:creationId xmlns:a16="http://schemas.microsoft.com/office/drawing/2014/main" id="{B4EAFF04-1840-B129-1A1F-8E64F31252BB}"/>
                </a:ext>
              </a:extLst>
            </p:cNvPr>
            <p:cNvGrpSpPr/>
            <p:nvPr/>
          </p:nvGrpSpPr>
          <p:grpSpPr>
            <a:xfrm>
              <a:off x="1366127" y="3804346"/>
              <a:ext cx="3071935" cy="3053654"/>
              <a:chOff x="1366127" y="3804346"/>
              <a:chExt cx="3071935" cy="3053654"/>
            </a:xfrm>
          </p:grpSpPr>
          <p:pic>
            <p:nvPicPr>
              <p:cNvPr id="11" name="Graphic 10" descr="Laptop with solid fill">
                <a:extLst>
                  <a:ext uri="{FF2B5EF4-FFF2-40B4-BE49-F238E27FC236}">
                    <a16:creationId xmlns:a16="http://schemas.microsoft.com/office/drawing/2014/main" id="{8FEAEE93-1491-3CED-2C9E-86452C507F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97459" y="3817397"/>
                <a:ext cx="3040603" cy="3040603"/>
              </a:xfrm>
              <a:prstGeom prst="rect">
                <a:avLst/>
              </a:prstGeom>
            </p:spPr>
          </p:pic>
          <p:pic>
            <p:nvPicPr>
              <p:cNvPr id="13" name="Graphic 12" descr="Laptop outline">
                <a:extLst>
                  <a:ext uri="{FF2B5EF4-FFF2-40B4-BE49-F238E27FC236}">
                    <a16:creationId xmlns:a16="http://schemas.microsoft.com/office/drawing/2014/main" id="{8407D1F6-1A4C-0B7E-CBC0-A24BAE4F7D6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66127" y="3804346"/>
                <a:ext cx="3042000" cy="3042000"/>
              </a:xfrm>
              <a:prstGeom prst="rect">
                <a:avLst/>
              </a:prstGeom>
            </p:spPr>
          </p:pic>
        </p:grpSp>
      </p:grpSp>
      <p:grpSp>
        <p:nvGrpSpPr>
          <p:cNvPr id="31" name="Group 30">
            <a:extLst>
              <a:ext uri="{FF2B5EF4-FFF2-40B4-BE49-F238E27FC236}">
                <a16:creationId xmlns:a16="http://schemas.microsoft.com/office/drawing/2014/main" id="{61B92494-23CF-6870-7F87-CBCE5A8DEA6F}"/>
              </a:ext>
            </a:extLst>
          </p:cNvPr>
          <p:cNvGrpSpPr/>
          <p:nvPr/>
        </p:nvGrpSpPr>
        <p:grpSpPr>
          <a:xfrm>
            <a:off x="5096920" y="3386757"/>
            <a:ext cx="4321315" cy="3742090"/>
            <a:chOff x="5096920" y="3386757"/>
            <a:chExt cx="4321315" cy="3742090"/>
          </a:xfrm>
        </p:grpSpPr>
        <p:grpSp>
          <p:nvGrpSpPr>
            <p:cNvPr id="20" name="Group 19">
              <a:extLst>
                <a:ext uri="{FF2B5EF4-FFF2-40B4-BE49-F238E27FC236}">
                  <a16:creationId xmlns:a16="http://schemas.microsoft.com/office/drawing/2014/main" id="{E910294C-D3EF-FB4B-A124-39D15EF158E2}"/>
                </a:ext>
              </a:extLst>
            </p:cNvPr>
            <p:cNvGrpSpPr/>
            <p:nvPr/>
          </p:nvGrpSpPr>
          <p:grpSpPr>
            <a:xfrm>
              <a:off x="5096920" y="3386757"/>
              <a:ext cx="4321315" cy="3742090"/>
              <a:chOff x="6637198" y="3500440"/>
              <a:chExt cx="3071935" cy="3042000"/>
            </a:xfrm>
          </p:grpSpPr>
          <p:pic>
            <p:nvPicPr>
              <p:cNvPr id="19" name="Graphic 18" descr="Cloud with solid fill">
                <a:extLst>
                  <a:ext uri="{FF2B5EF4-FFF2-40B4-BE49-F238E27FC236}">
                    <a16:creationId xmlns:a16="http://schemas.microsoft.com/office/drawing/2014/main" id="{E49D6537-1350-59B3-429A-1200C618053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67133" y="3500440"/>
                <a:ext cx="3042000" cy="3042000"/>
              </a:xfrm>
              <a:prstGeom prst="rect">
                <a:avLst/>
              </a:prstGeom>
            </p:spPr>
          </p:pic>
          <p:pic>
            <p:nvPicPr>
              <p:cNvPr id="17" name="Graphic 16" descr="Cloud outline">
                <a:extLst>
                  <a:ext uri="{FF2B5EF4-FFF2-40B4-BE49-F238E27FC236}">
                    <a16:creationId xmlns:a16="http://schemas.microsoft.com/office/drawing/2014/main" id="{61BCCF0C-6372-C0D3-CB55-1CEDB5F6B08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37198" y="3500440"/>
                <a:ext cx="3042000" cy="3042000"/>
              </a:xfrm>
              <a:prstGeom prst="rect">
                <a:avLst/>
              </a:prstGeom>
            </p:spPr>
          </p:pic>
        </p:grpSp>
        <p:pic>
          <p:nvPicPr>
            <p:cNvPr id="9" name="Graphic 8">
              <a:extLst>
                <a:ext uri="{FF2B5EF4-FFF2-40B4-BE49-F238E27FC236}">
                  <a16:creationId xmlns:a16="http://schemas.microsoft.com/office/drawing/2014/main" id="{6040E45B-2B96-AA27-A930-94E0B216A2FE}"/>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840856" y="5186362"/>
              <a:ext cx="811406" cy="800291"/>
            </a:xfrm>
            <a:prstGeom prst="rect">
              <a:avLst/>
            </a:prstGeom>
          </p:spPr>
        </p:pic>
        <p:pic>
          <p:nvPicPr>
            <p:cNvPr id="22" name="Graphic 21">
              <a:extLst>
                <a:ext uri="{FF2B5EF4-FFF2-40B4-BE49-F238E27FC236}">
                  <a16:creationId xmlns:a16="http://schemas.microsoft.com/office/drawing/2014/main" id="{7B1F0AAA-81E5-6140-F03E-6E9DC4502170}"/>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275966" y="4320973"/>
              <a:ext cx="1512000" cy="1512000"/>
            </a:xfrm>
            <a:prstGeom prst="rect">
              <a:avLst/>
            </a:prstGeom>
          </p:spPr>
        </p:pic>
        <p:pic>
          <p:nvPicPr>
            <p:cNvPr id="30" name="Graphic 29">
              <a:extLst>
                <a:ext uri="{FF2B5EF4-FFF2-40B4-BE49-F238E27FC236}">
                  <a16:creationId xmlns:a16="http://schemas.microsoft.com/office/drawing/2014/main" id="{318D4462-F6D7-9F16-1A78-56C0404B7CE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366824" y="5076973"/>
              <a:ext cx="1080000" cy="1080000"/>
            </a:xfrm>
            <a:prstGeom prst="rect">
              <a:avLst/>
            </a:prstGeom>
          </p:spPr>
        </p:pic>
      </p:grpSp>
    </p:spTree>
    <p:extLst>
      <p:ext uri="{BB962C8B-B14F-4D97-AF65-F5344CB8AC3E}">
        <p14:creationId xmlns:p14="http://schemas.microsoft.com/office/powerpoint/2010/main" val="887389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olve the merge conflict</a:t>
            </a:r>
          </a:p>
        </p:txBody>
      </p:sp>
      <p:pic>
        <p:nvPicPr>
          <p:cNvPr id="4" name="Picture 3"/>
          <p:cNvPicPr>
            <a:picLocks noChangeAspect="1"/>
          </p:cNvPicPr>
          <p:nvPr/>
        </p:nvPicPr>
        <p:blipFill>
          <a:blip r:embed="rId3"/>
          <a:stretch>
            <a:fillRect/>
          </a:stretch>
        </p:blipFill>
        <p:spPr>
          <a:xfrm>
            <a:off x="250614" y="1664970"/>
            <a:ext cx="8115300" cy="3162300"/>
          </a:xfrm>
          <a:prstGeom prst="rect">
            <a:avLst/>
          </a:prstGeom>
        </p:spPr>
      </p:pic>
      <p:pic>
        <p:nvPicPr>
          <p:cNvPr id="7" name="Content Placeholder 4"/>
          <p:cNvPicPr>
            <a:picLocks noChangeAspect="1"/>
          </p:cNvPicPr>
          <p:nvPr/>
        </p:nvPicPr>
        <p:blipFill>
          <a:blip r:embed="rId4"/>
          <a:stretch>
            <a:fillRect/>
          </a:stretch>
        </p:blipFill>
        <p:spPr>
          <a:xfrm>
            <a:off x="7020084" y="3139440"/>
            <a:ext cx="4171950" cy="2743200"/>
          </a:xfrm>
          <a:prstGeom prst="rect">
            <a:avLst/>
          </a:prstGeom>
        </p:spPr>
      </p:pic>
      <p:sp>
        <p:nvSpPr>
          <p:cNvPr id="8" name="Oval 7"/>
          <p:cNvSpPr/>
          <p:nvPr/>
        </p:nvSpPr>
        <p:spPr>
          <a:xfrm>
            <a:off x="6396798" y="1787525"/>
            <a:ext cx="1615440" cy="670560"/>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Down Arrow 8"/>
          <p:cNvSpPr/>
          <p:nvPr/>
        </p:nvSpPr>
        <p:spPr>
          <a:xfrm>
            <a:off x="7204518" y="2611755"/>
            <a:ext cx="620296" cy="407236"/>
          </a:xfrm>
          <a:prstGeom prst="downArrow">
            <a:avLst>
              <a:gd name="adj1" fmla="val 20588"/>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p:cNvSpPr txBox="1"/>
          <p:nvPr/>
        </p:nvSpPr>
        <p:spPr>
          <a:xfrm>
            <a:off x="792480" y="6004560"/>
            <a:ext cx="11567160" cy="369332"/>
          </a:xfrm>
          <a:prstGeom prst="rect">
            <a:avLst/>
          </a:prstGeom>
          <a:noFill/>
        </p:spPr>
        <p:txBody>
          <a:bodyPr wrap="square" rtlCol="0">
            <a:spAutoFit/>
          </a:bodyPr>
          <a:lstStyle/>
          <a:p>
            <a:r>
              <a:rPr lang="en-GB" dirty="0"/>
              <a:t>After deciding what to keep you can confirm and commit the merge</a:t>
            </a:r>
          </a:p>
        </p:txBody>
      </p:sp>
    </p:spTree>
    <p:extLst>
      <p:ext uri="{BB962C8B-B14F-4D97-AF65-F5344CB8AC3E}">
        <p14:creationId xmlns:p14="http://schemas.microsoft.com/office/powerpoint/2010/main" val="16997985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198120"/>
            <a:ext cx="8596668" cy="1320800"/>
          </a:xfrm>
        </p:spPr>
        <p:txBody>
          <a:bodyPr/>
          <a:lstStyle/>
          <a:p>
            <a:r>
              <a:rPr lang="en-GB" dirty="0"/>
              <a:t>Setting up a pull request to merge into the original project</a:t>
            </a:r>
          </a:p>
        </p:txBody>
      </p:sp>
      <p:pic>
        <p:nvPicPr>
          <p:cNvPr id="4" name="Picture 3"/>
          <p:cNvPicPr>
            <a:picLocks noChangeAspect="1"/>
          </p:cNvPicPr>
          <p:nvPr/>
        </p:nvPicPr>
        <p:blipFill>
          <a:blip r:embed="rId3"/>
          <a:stretch>
            <a:fillRect/>
          </a:stretch>
        </p:blipFill>
        <p:spPr>
          <a:xfrm>
            <a:off x="262890" y="2246947"/>
            <a:ext cx="9414510" cy="2975943"/>
          </a:xfrm>
          <a:prstGeom prst="rect">
            <a:avLst/>
          </a:prstGeom>
        </p:spPr>
      </p:pic>
      <p:sp>
        <p:nvSpPr>
          <p:cNvPr id="5" name="Content Placeholder 2"/>
          <p:cNvSpPr>
            <a:spLocks noGrp="1"/>
          </p:cNvSpPr>
          <p:nvPr>
            <p:ph idx="1"/>
          </p:nvPr>
        </p:nvSpPr>
        <p:spPr>
          <a:xfrm>
            <a:off x="570654" y="1488440"/>
            <a:ext cx="8596668" cy="4927600"/>
          </a:xfrm>
        </p:spPr>
        <p:txBody>
          <a:bodyPr>
            <a:normAutofit fontScale="92500" lnSpcReduction="10000"/>
          </a:bodyPr>
          <a:lstStyle/>
          <a:p>
            <a:pPr marL="0" indent="0">
              <a:buNone/>
            </a:pPr>
            <a:r>
              <a:rPr lang="en-GB" dirty="0"/>
              <a:t>When you are ready to propose your updates to the ‘original’ project you can go back to GitHub:</a:t>
            </a:r>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endParaRPr lang="en-GB" b="1" dirty="0">
              <a:solidFill>
                <a:srgbClr val="5FCBEF"/>
              </a:solidFill>
            </a:endParaRPr>
          </a:p>
          <a:p>
            <a:r>
              <a:rPr lang="en-GB" b="1" dirty="0">
                <a:solidFill>
                  <a:srgbClr val="5FCBEF"/>
                </a:solidFill>
              </a:rPr>
              <a:t>Sync fork</a:t>
            </a:r>
            <a:r>
              <a:rPr lang="en-GB" dirty="0">
                <a:solidFill>
                  <a:srgbClr val="5FCBEF"/>
                </a:solidFill>
              </a:rPr>
              <a:t> </a:t>
            </a:r>
            <a:r>
              <a:rPr lang="en-GB" dirty="0"/>
              <a:t>is to get all the updates that might have happened in the project since the fork was created (or synched lastly). We will follow up with this case later.</a:t>
            </a:r>
          </a:p>
          <a:p>
            <a:r>
              <a:rPr lang="en-GB" b="1" dirty="0">
                <a:solidFill>
                  <a:srgbClr val="5FCBEF"/>
                </a:solidFill>
              </a:rPr>
              <a:t>Contribute</a:t>
            </a:r>
            <a:r>
              <a:rPr lang="en-GB" dirty="0"/>
              <a:t> is to create the pull request -&gt; go ahead here!</a:t>
            </a:r>
          </a:p>
          <a:p>
            <a:pPr marL="0" indent="0">
              <a:buNone/>
            </a:pPr>
            <a:endParaRPr lang="en-GB" dirty="0"/>
          </a:p>
        </p:txBody>
      </p:sp>
      <p:sp>
        <p:nvSpPr>
          <p:cNvPr id="7" name="Oval 6"/>
          <p:cNvSpPr/>
          <p:nvPr/>
        </p:nvSpPr>
        <p:spPr>
          <a:xfrm>
            <a:off x="6579678" y="4552330"/>
            <a:ext cx="2941128" cy="670560"/>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878309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if the original project changed?</a:t>
            </a:r>
          </a:p>
        </p:txBody>
      </p:sp>
      <p:sp>
        <p:nvSpPr>
          <p:cNvPr id="3" name="Content Placeholder 2"/>
          <p:cNvSpPr>
            <a:spLocks noGrp="1"/>
          </p:cNvSpPr>
          <p:nvPr>
            <p:ph idx="1"/>
          </p:nvPr>
        </p:nvSpPr>
        <p:spPr/>
        <p:txBody>
          <a:bodyPr/>
          <a:lstStyle/>
          <a:p>
            <a:r>
              <a:rPr lang="en-GB" dirty="0"/>
              <a:t>You will have to synch the fork</a:t>
            </a:r>
          </a:p>
          <a:p>
            <a:r>
              <a:rPr lang="en-GB" dirty="0"/>
              <a:t>Pull the updates locally</a:t>
            </a:r>
          </a:p>
          <a:p>
            <a:r>
              <a:rPr lang="en-GB" dirty="0"/>
              <a:t>Merge if needed</a:t>
            </a:r>
          </a:p>
          <a:p>
            <a:r>
              <a:rPr lang="en-GB" dirty="0"/>
              <a:t>Push back your final work</a:t>
            </a:r>
          </a:p>
          <a:p>
            <a:r>
              <a:rPr lang="en-GB" dirty="0"/>
              <a:t>Open a new pull request </a:t>
            </a:r>
          </a:p>
        </p:txBody>
      </p:sp>
    </p:spTree>
    <p:extLst>
      <p:ext uri="{BB962C8B-B14F-4D97-AF65-F5344CB8AC3E}">
        <p14:creationId xmlns:p14="http://schemas.microsoft.com/office/powerpoint/2010/main" val="277815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ips with the Terminal </a:t>
            </a:r>
          </a:p>
        </p:txBody>
      </p:sp>
      <p:sp>
        <p:nvSpPr>
          <p:cNvPr id="3" name="Content Placeholder 2"/>
          <p:cNvSpPr>
            <a:spLocks noGrp="1"/>
          </p:cNvSpPr>
          <p:nvPr>
            <p:ph idx="1"/>
          </p:nvPr>
        </p:nvSpPr>
        <p:spPr>
          <a:xfrm>
            <a:off x="677334" y="3892869"/>
            <a:ext cx="8596668" cy="1695131"/>
          </a:xfrm>
        </p:spPr>
        <p:txBody>
          <a:bodyPr>
            <a:normAutofit/>
          </a:bodyPr>
          <a:lstStyle/>
          <a:p>
            <a:pPr marL="0" indent="0">
              <a:buNone/>
            </a:pPr>
            <a:r>
              <a:rPr lang="en-GB" dirty="0"/>
              <a:t>Some actions are impossible or just difficult to perform via the Git GUI:</a:t>
            </a:r>
          </a:p>
          <a:p>
            <a:endParaRPr lang="en-GB" dirty="0"/>
          </a:p>
          <a:p>
            <a:r>
              <a:rPr lang="en-GB" dirty="0"/>
              <a:t>Delete local branches:  </a:t>
            </a:r>
            <a:r>
              <a:rPr lang="en-GB" dirty="0">
                <a:latin typeface="Arial monospaced for SAP" panose="020B0609020202030204" pitchFamily="49" charset="0"/>
              </a:rPr>
              <a:t>git branch –d ‘name of the branch’ </a:t>
            </a:r>
          </a:p>
          <a:p>
            <a:r>
              <a:rPr lang="en-GB" dirty="0"/>
              <a:t>Perform local merges (see next slide)</a:t>
            </a:r>
          </a:p>
          <a:p>
            <a:endParaRPr lang="en-GB" dirty="0"/>
          </a:p>
        </p:txBody>
      </p:sp>
      <p:pic>
        <p:nvPicPr>
          <p:cNvPr id="4" name="Picture 3"/>
          <p:cNvPicPr>
            <a:picLocks noChangeAspect="1"/>
          </p:cNvPicPr>
          <p:nvPr/>
        </p:nvPicPr>
        <p:blipFill>
          <a:blip r:embed="rId3"/>
          <a:stretch>
            <a:fillRect/>
          </a:stretch>
        </p:blipFill>
        <p:spPr>
          <a:xfrm>
            <a:off x="1634298" y="1797209"/>
            <a:ext cx="7200900" cy="1228725"/>
          </a:xfrm>
          <a:prstGeom prst="rect">
            <a:avLst/>
          </a:prstGeom>
        </p:spPr>
      </p:pic>
      <p:sp>
        <p:nvSpPr>
          <p:cNvPr id="5" name="TextBox 4">
            <a:extLst>
              <a:ext uri="{FF2B5EF4-FFF2-40B4-BE49-F238E27FC236}">
                <a16:creationId xmlns:a16="http://schemas.microsoft.com/office/drawing/2014/main" id="{46423F08-C76A-E5D3-74E8-AB3F0307DEC4}"/>
              </a:ext>
            </a:extLst>
          </p:cNvPr>
          <p:cNvSpPr txBox="1"/>
          <p:nvPr/>
        </p:nvSpPr>
        <p:spPr>
          <a:xfrm>
            <a:off x="677334" y="5588000"/>
            <a:ext cx="7259782" cy="923330"/>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dirty="0"/>
              <a:t>To delete all local branches but the one you are on use:</a:t>
            </a:r>
          </a:p>
          <a:p>
            <a:r>
              <a:rPr lang="en-US" dirty="0"/>
              <a:t>git branch | grep -v $(git rev-parse --abbrev-ref HEAD) | </a:t>
            </a:r>
            <a:r>
              <a:rPr lang="en-US" dirty="0" err="1"/>
              <a:t>xargs</a:t>
            </a:r>
            <a:r>
              <a:rPr lang="en-US" dirty="0"/>
              <a:t> git branch -D</a:t>
            </a:r>
          </a:p>
        </p:txBody>
      </p:sp>
    </p:spTree>
    <p:extLst>
      <p:ext uri="{BB962C8B-B14F-4D97-AF65-F5344CB8AC3E}">
        <p14:creationId xmlns:p14="http://schemas.microsoft.com/office/powerpoint/2010/main" val="33791217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ips with the Terminal (merge)</a:t>
            </a:r>
          </a:p>
        </p:txBody>
      </p:sp>
      <p:sp>
        <p:nvSpPr>
          <p:cNvPr id="3" name="Content Placeholder 2"/>
          <p:cNvSpPr>
            <a:spLocks noGrp="1"/>
          </p:cNvSpPr>
          <p:nvPr>
            <p:ph idx="1"/>
          </p:nvPr>
        </p:nvSpPr>
        <p:spPr>
          <a:xfrm>
            <a:off x="677334" y="3135949"/>
            <a:ext cx="8596668" cy="3188651"/>
          </a:xfrm>
        </p:spPr>
        <p:txBody>
          <a:bodyPr/>
          <a:lstStyle/>
          <a:p>
            <a:pPr marL="0" indent="0">
              <a:buNone/>
            </a:pPr>
            <a:r>
              <a:rPr lang="en-GB" dirty="0"/>
              <a:t>The same operation can be achieved via the Terminal by:</a:t>
            </a:r>
          </a:p>
          <a:p>
            <a:r>
              <a:rPr lang="en-GB" dirty="0"/>
              <a:t>Checking out to the branch you want to merge into</a:t>
            </a:r>
          </a:p>
          <a:p>
            <a:r>
              <a:rPr lang="en-GB" dirty="0"/>
              <a:t>Typing in the Terminal: </a:t>
            </a:r>
            <a:r>
              <a:rPr lang="en-GB" b="1" dirty="0">
                <a:solidFill>
                  <a:srgbClr val="5FCBEF"/>
                </a:solidFill>
                <a:latin typeface="Arial monospaced for SAP" panose="020B0609020202030204" pitchFamily="49" charset="0"/>
              </a:rPr>
              <a:t>git merge ‘name of your branch you want to merge’</a:t>
            </a:r>
          </a:p>
          <a:p>
            <a:r>
              <a:rPr lang="en-GB" dirty="0"/>
              <a:t>When an automatic merge cannot happen, a file with the merge conflict will appear</a:t>
            </a:r>
          </a:p>
          <a:p>
            <a:r>
              <a:rPr lang="en-GB" dirty="0"/>
              <a:t>You should select what you want to keep, save the file and commit the changes</a:t>
            </a:r>
          </a:p>
        </p:txBody>
      </p:sp>
      <p:pic>
        <p:nvPicPr>
          <p:cNvPr id="4" name="Picture 3"/>
          <p:cNvPicPr>
            <a:picLocks noChangeAspect="1"/>
          </p:cNvPicPr>
          <p:nvPr/>
        </p:nvPicPr>
        <p:blipFill>
          <a:blip r:embed="rId2"/>
          <a:stretch>
            <a:fillRect/>
          </a:stretch>
        </p:blipFill>
        <p:spPr>
          <a:xfrm>
            <a:off x="2232930" y="1326197"/>
            <a:ext cx="7200900" cy="1228725"/>
          </a:xfrm>
          <a:prstGeom prst="rect">
            <a:avLst/>
          </a:prstGeom>
        </p:spPr>
      </p:pic>
      <p:sp>
        <p:nvSpPr>
          <p:cNvPr id="5" name="Oval 4"/>
          <p:cNvSpPr/>
          <p:nvPr/>
        </p:nvSpPr>
        <p:spPr>
          <a:xfrm>
            <a:off x="2891598" y="1270000"/>
            <a:ext cx="1116522" cy="670560"/>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663414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89762-D57B-EC67-3421-71FF37548307}"/>
              </a:ext>
            </a:extLst>
          </p:cNvPr>
          <p:cNvSpPr>
            <a:spLocks noGrp="1"/>
          </p:cNvSpPr>
          <p:nvPr>
            <p:ph type="title"/>
          </p:nvPr>
        </p:nvSpPr>
        <p:spPr/>
        <p:txBody>
          <a:bodyPr/>
          <a:lstStyle/>
          <a:p>
            <a:r>
              <a:rPr lang="en-US"/>
              <a:t>Github </a:t>
            </a:r>
            <a:r>
              <a:rPr lang="en-US" dirty="0"/>
              <a:t>in Practice</a:t>
            </a:r>
            <a:endParaRPr lang="de-DE" dirty="0"/>
          </a:p>
        </p:txBody>
      </p:sp>
      <p:sp>
        <p:nvSpPr>
          <p:cNvPr id="3" name="Text Placeholder 2">
            <a:extLst>
              <a:ext uri="{FF2B5EF4-FFF2-40B4-BE49-F238E27FC236}">
                <a16:creationId xmlns:a16="http://schemas.microsoft.com/office/drawing/2014/main" id="{C8B6C00F-2292-595D-29AA-A0A3B2A00D51}"/>
              </a:ext>
            </a:extLst>
          </p:cNvPr>
          <p:cNvSpPr>
            <a:spLocks noGrp="1"/>
          </p:cNvSpPr>
          <p:nvPr>
            <p:ph type="body" idx="1"/>
          </p:nvPr>
        </p:nvSpPr>
        <p:spPr/>
        <p:txBody>
          <a:bodyPr/>
          <a:lstStyle/>
          <a:p>
            <a:r>
              <a:rPr lang="de-DE" dirty="0"/>
              <a:t>GitHub Issues</a:t>
            </a:r>
          </a:p>
        </p:txBody>
      </p:sp>
    </p:spTree>
    <p:extLst>
      <p:ext uri="{BB962C8B-B14F-4D97-AF65-F5344CB8AC3E}">
        <p14:creationId xmlns:p14="http://schemas.microsoft.com/office/powerpoint/2010/main" val="35531559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D4AED-4CFD-7ECE-FECD-AA032A3F04F2}"/>
              </a:ext>
            </a:extLst>
          </p:cNvPr>
          <p:cNvSpPr>
            <a:spLocks noGrp="1"/>
          </p:cNvSpPr>
          <p:nvPr>
            <p:ph type="title"/>
          </p:nvPr>
        </p:nvSpPr>
        <p:spPr>
          <a:xfrm>
            <a:off x="705409" y="543251"/>
            <a:ext cx="8596668" cy="1320800"/>
          </a:xfrm>
        </p:spPr>
        <p:txBody>
          <a:bodyPr/>
          <a:lstStyle/>
          <a:p>
            <a:r>
              <a:rPr lang="en-GB" dirty="0"/>
              <a:t>My own Issue with </a:t>
            </a:r>
            <a:r>
              <a:rPr lang="en-GB" dirty="0" err="1"/>
              <a:t>dplyr</a:t>
            </a:r>
            <a:endParaRPr lang="en-US" dirty="0"/>
          </a:p>
        </p:txBody>
      </p:sp>
      <p:sp>
        <p:nvSpPr>
          <p:cNvPr id="3" name="Content Placeholder 2">
            <a:extLst>
              <a:ext uri="{FF2B5EF4-FFF2-40B4-BE49-F238E27FC236}">
                <a16:creationId xmlns:a16="http://schemas.microsoft.com/office/drawing/2014/main" id="{637DD5C7-ABD8-A6A4-73CF-449205BB1269}"/>
              </a:ext>
            </a:extLst>
          </p:cNvPr>
          <p:cNvSpPr>
            <a:spLocks noGrp="1"/>
          </p:cNvSpPr>
          <p:nvPr>
            <p:ph idx="1"/>
          </p:nvPr>
        </p:nvSpPr>
        <p:spPr>
          <a:xfrm>
            <a:off x="593113" y="1729805"/>
            <a:ext cx="5855813" cy="4645699"/>
          </a:xfrm>
        </p:spPr>
        <p:txBody>
          <a:bodyPr>
            <a:normAutofit/>
          </a:bodyPr>
          <a:lstStyle/>
          <a:p>
            <a:pPr>
              <a:spcBef>
                <a:spcPts val="1200"/>
              </a:spcBef>
            </a:pPr>
            <a:r>
              <a:rPr lang="en-GB" sz="2600" dirty="0"/>
              <a:t>I love </a:t>
            </a:r>
            <a:r>
              <a:rPr lang="en-GB" sz="2600" dirty="0" err="1"/>
              <a:t>dplyr</a:t>
            </a:r>
            <a:endParaRPr lang="en-GB" sz="2600" dirty="0"/>
          </a:p>
          <a:p>
            <a:pPr>
              <a:spcBef>
                <a:spcPts val="1200"/>
              </a:spcBef>
            </a:pPr>
            <a:r>
              <a:rPr lang="en-GB" sz="2600" dirty="0"/>
              <a:t>I tend to struggle with </a:t>
            </a:r>
            <a:r>
              <a:rPr lang="en-GB" sz="2600" dirty="0" err="1">
                <a:latin typeface="Arial monospaced for SAP" panose="020B0609020202030204" pitchFamily="49" charset="0"/>
              </a:rPr>
              <a:t>dplyr</a:t>
            </a:r>
            <a:r>
              <a:rPr lang="en-GB" sz="2600" dirty="0">
                <a:latin typeface="Arial monospaced for SAP" panose="020B0609020202030204" pitchFamily="49" charset="0"/>
              </a:rPr>
              <a:t>::filter() </a:t>
            </a:r>
            <a:r>
              <a:rPr lang="en-GB" sz="2600" dirty="0"/>
              <a:t>due to its tendency to drop missing values</a:t>
            </a:r>
          </a:p>
          <a:p>
            <a:pPr>
              <a:spcBef>
                <a:spcPts val="1200"/>
              </a:spcBef>
            </a:pPr>
            <a:r>
              <a:rPr lang="en-GB" sz="2600" dirty="0"/>
              <a:t>I would like to open an issue in the </a:t>
            </a:r>
            <a:r>
              <a:rPr lang="en-GB" sz="2600" dirty="0" err="1"/>
              <a:t>dplyr</a:t>
            </a:r>
            <a:r>
              <a:rPr lang="en-GB" sz="2600" dirty="0"/>
              <a:t> GitHub repo</a:t>
            </a:r>
          </a:p>
        </p:txBody>
      </p:sp>
      <p:sp>
        <p:nvSpPr>
          <p:cNvPr id="5" name="TextBox 4">
            <a:extLst>
              <a:ext uri="{FF2B5EF4-FFF2-40B4-BE49-F238E27FC236}">
                <a16:creationId xmlns:a16="http://schemas.microsoft.com/office/drawing/2014/main" id="{93839ED1-E09B-A34F-79B8-F0F4F2EF6C5C}"/>
              </a:ext>
            </a:extLst>
          </p:cNvPr>
          <p:cNvSpPr txBox="1"/>
          <p:nvPr/>
        </p:nvSpPr>
        <p:spPr>
          <a:xfrm>
            <a:off x="593113" y="6627168"/>
            <a:ext cx="6096000" cy="230832"/>
          </a:xfrm>
          <a:prstGeom prst="rect">
            <a:avLst/>
          </a:prstGeom>
          <a:noFill/>
        </p:spPr>
        <p:txBody>
          <a:bodyPr wrap="square">
            <a:spAutoFit/>
          </a:bodyPr>
          <a:lstStyle/>
          <a:p>
            <a:r>
              <a:rPr lang="en-GB" sz="900" dirty="0"/>
              <a:t>Work icons created by </a:t>
            </a:r>
            <a:r>
              <a:rPr lang="en-GB" sz="900" dirty="0" err="1"/>
              <a:t>Eucalyp</a:t>
            </a:r>
            <a:r>
              <a:rPr lang="en-GB" sz="900" dirty="0"/>
              <a:t> - </a:t>
            </a:r>
            <a:r>
              <a:rPr lang="en-GB" sz="900" dirty="0" err="1"/>
              <a:t>Flaticon</a:t>
            </a:r>
            <a:endParaRPr lang="en-GB" sz="900" dirty="0"/>
          </a:p>
        </p:txBody>
      </p:sp>
      <p:pic>
        <p:nvPicPr>
          <p:cNvPr id="6" name="Picture 5" descr="A picture containing black, darkness&#10;&#10;Description automatically generated">
            <a:extLst>
              <a:ext uri="{FF2B5EF4-FFF2-40B4-BE49-F238E27FC236}">
                <a16:creationId xmlns:a16="http://schemas.microsoft.com/office/drawing/2014/main" id="{D99AEF1C-6845-6F89-781A-327CFCA5ECF9}"/>
              </a:ext>
            </a:extLst>
          </p:cNvPr>
          <p:cNvPicPr>
            <a:picLocks noChangeAspect="1"/>
          </p:cNvPicPr>
          <p:nvPr/>
        </p:nvPicPr>
        <p:blipFill>
          <a:blip r:embed="rId3">
            <a:duotone>
              <a:schemeClr val="accent1">
                <a:shade val="45000"/>
                <a:satMod val="135000"/>
              </a:schemeClr>
              <a:prstClr val="white"/>
            </a:duotone>
          </a:blip>
          <a:stretch>
            <a:fillRect/>
          </a:stretch>
        </p:blipFill>
        <p:spPr>
          <a:xfrm>
            <a:off x="6561222" y="1864051"/>
            <a:ext cx="3320106" cy="3320106"/>
          </a:xfrm>
          <a:prstGeom prst="rect">
            <a:avLst/>
          </a:prstGeom>
        </p:spPr>
      </p:pic>
    </p:spTree>
    <p:extLst>
      <p:ext uri="{BB962C8B-B14F-4D97-AF65-F5344CB8AC3E}">
        <p14:creationId xmlns:p14="http://schemas.microsoft.com/office/powerpoint/2010/main" val="25407155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itHub Issues (I)</a:t>
            </a:r>
          </a:p>
        </p:txBody>
      </p:sp>
      <p:sp>
        <p:nvSpPr>
          <p:cNvPr id="3" name="Content Placeholder 2"/>
          <p:cNvSpPr>
            <a:spLocks noGrp="1"/>
          </p:cNvSpPr>
          <p:nvPr>
            <p:ph idx="1"/>
            <p:custDataLst>
              <p:tags r:id="rId1"/>
            </p:custDataLst>
          </p:nvPr>
        </p:nvSpPr>
        <p:spPr>
          <a:xfrm>
            <a:off x="677334" y="4942441"/>
            <a:ext cx="8596668" cy="3188651"/>
          </a:xfrm>
        </p:spPr>
        <p:txBody>
          <a:bodyPr/>
          <a:lstStyle>
            <a:lvl1pPr marL="342900" indent="-342900" algn="l" defTabSz="457200" rtl="0" eaLnBrk="1" latinLnBrk="0" hangingPunct="1">
              <a:buClr>
                <a:schemeClr val="accent1"/>
              </a:buClr>
              <a:buSzPct val="80000"/>
              <a:buFont typeface="Wingdings 3" charset="2"/>
              <a:buChar char=""/>
            </a:lvl1pPr>
            <a:lvl2pPr marL="742950" indent="-285750" algn="l" defTabSz="457200" rtl="0" eaLnBrk="1" latinLnBrk="0" hangingPunct="1">
              <a:buClr>
                <a:schemeClr val="accent1"/>
              </a:buClr>
              <a:buSzPct val="80000"/>
              <a:buFont typeface="Wingdings 3" charset="2"/>
              <a:buChar char=""/>
            </a:lvl2pPr>
            <a:lvl3pPr marL="1143000" indent="-228600" algn="l" defTabSz="457200" rtl="0" eaLnBrk="1" latinLnBrk="0" hangingPunct="1">
              <a:buClr>
                <a:schemeClr val="accent1"/>
              </a:buClr>
              <a:buSzPct val="80000"/>
              <a:buFont typeface="Wingdings 3" charset="2"/>
              <a:buChar char=""/>
            </a:lvl3pPr>
            <a:lvl4pPr marL="1600200" indent="-228600" algn="l" defTabSz="457200" rtl="0" eaLnBrk="1" latinLnBrk="0" hangingPunct="1">
              <a:buClr>
                <a:schemeClr val="accent1"/>
              </a:buClr>
              <a:buSzPct val="80000"/>
              <a:buFont typeface="Wingdings 3" charset="2"/>
              <a:buChar char=""/>
            </a:lvl4pPr>
            <a:lvl5pPr marL="2057400" indent="-228600" algn="l" defTabSz="457200" rtl="0" eaLnBrk="1" latinLnBrk="0" hangingPunct="1">
              <a:buClr>
                <a:schemeClr val="accent1"/>
              </a:buClr>
              <a:buSzPct val="80000"/>
              <a:buFont typeface="Wingdings 3" charset="2"/>
              <a:buChar char=""/>
            </a:lvl5pPr>
            <a:lvl6pPr marL="2514600" indent="-228600" algn="l" defTabSz="457200" rtl="0" eaLnBrk="1" latinLnBrk="0" hangingPunct="1">
              <a:buClr>
                <a:schemeClr val="accent1"/>
              </a:buClr>
              <a:buSzPct val="80000"/>
              <a:buFont typeface="Wingdings 3" charset="2"/>
              <a:buChar char=""/>
            </a:lvl6pPr>
            <a:lvl7pPr marL="2971800" indent="-228600" algn="l" defTabSz="457200" rtl="0" eaLnBrk="1" latinLnBrk="0" hangingPunct="1">
              <a:buClr>
                <a:schemeClr val="accent1"/>
              </a:buClr>
              <a:buSzPct val="80000"/>
              <a:buFont typeface="Wingdings 3" charset="2"/>
              <a:buChar char=""/>
            </a:lvl7pPr>
            <a:lvl8pPr marL="3429000" indent="-228600" algn="l" defTabSz="457200" rtl="0" eaLnBrk="1" latinLnBrk="0" hangingPunct="1">
              <a:buClr>
                <a:schemeClr val="accent1"/>
              </a:buClr>
              <a:buSzPct val="80000"/>
              <a:buFont typeface="Wingdings 3" charset="2"/>
              <a:buChar char=""/>
            </a:lvl8pPr>
            <a:lvl9pPr marL="3886200" indent="-228600" algn="l" defTabSz="457200" rtl="0" eaLnBrk="1" latinLnBrk="0" hangingPunct="1">
              <a:buClr>
                <a:schemeClr val="accent1"/>
              </a:buClr>
              <a:buSzPct val="80000"/>
              <a:buFont typeface="Wingdings 3" charset="2"/>
              <a:buChar char=""/>
            </a:lvl9pPr>
          </a:lstStyle>
          <a:p>
            <a:pPr marL="0" indent="0">
              <a:buNone/>
            </a:pPr>
            <a:r>
              <a:rPr lang="en-GB" dirty="0"/>
              <a:t>The first step is to navigate to the </a:t>
            </a:r>
            <a:r>
              <a:rPr lang="en-GB" dirty="0" err="1"/>
              <a:t>dplyr</a:t>
            </a:r>
            <a:r>
              <a:rPr lang="en-GB" dirty="0"/>
              <a:t> repo on </a:t>
            </a:r>
            <a:r>
              <a:rPr lang="en-GB" dirty="0" err="1"/>
              <a:t>Github</a:t>
            </a:r>
            <a:r>
              <a:rPr lang="en-GB" dirty="0"/>
              <a:t>:</a:t>
            </a:r>
          </a:p>
          <a:p>
            <a:pPr>
              <a:buFont typeface="Arial" panose="020B0604020202020204" pitchFamily="34" charset="0"/>
              <a:buChar char="•"/>
            </a:pPr>
            <a:r>
              <a:rPr lang="en-GB" dirty="0">
                <a:solidFill>
                  <a:srgbClr val="0070C0"/>
                </a:solidFill>
                <a:hlinkClick r:id="rId3"/>
              </a:rPr>
              <a:t>https://github.com/tidyverse/dplyr</a:t>
            </a:r>
            <a:endParaRPr lang="en-GB" dirty="0">
              <a:solidFill>
                <a:srgbClr val="0070C0"/>
              </a:solidFill>
            </a:endParaRPr>
          </a:p>
          <a:p>
            <a:pPr>
              <a:buFont typeface="Arial" panose="020B0604020202020204" pitchFamily="34" charset="0"/>
              <a:buChar char="•"/>
            </a:pPr>
            <a:r>
              <a:rPr lang="en-GB" dirty="0">
                <a:solidFill>
                  <a:schemeClr val="tx1"/>
                </a:solidFill>
              </a:rPr>
              <a:t>Now, click on </a:t>
            </a:r>
            <a:r>
              <a:rPr lang="en-GB" dirty="0">
                <a:solidFill>
                  <a:schemeClr val="accent2"/>
                </a:solidFill>
              </a:rPr>
              <a:t>Issues</a:t>
            </a:r>
            <a:r>
              <a:rPr lang="en-GB" dirty="0">
                <a:solidFill>
                  <a:schemeClr val="tx1"/>
                </a:solidFill>
              </a:rPr>
              <a:t> and check if something similar has already been submitted.</a:t>
            </a:r>
          </a:p>
          <a:p>
            <a:endParaRPr lang="en-GB" dirty="0"/>
          </a:p>
        </p:txBody>
      </p:sp>
      <p:pic>
        <p:nvPicPr>
          <p:cNvPr id="7" name="Picture 6">
            <a:extLst>
              <a:ext uri="{FF2B5EF4-FFF2-40B4-BE49-F238E27FC236}">
                <a16:creationId xmlns:a16="http://schemas.microsoft.com/office/drawing/2014/main" id="{C3D7B35B-26DC-C88D-2502-28F73E74A757}"/>
              </a:ext>
            </a:extLst>
          </p:cNvPr>
          <p:cNvPicPr>
            <a:picLocks noChangeAspect="1"/>
          </p:cNvPicPr>
          <p:nvPr/>
        </p:nvPicPr>
        <p:blipFill>
          <a:blip r:embed="rId4"/>
          <a:stretch>
            <a:fillRect/>
          </a:stretch>
        </p:blipFill>
        <p:spPr>
          <a:xfrm>
            <a:off x="677334" y="1392209"/>
            <a:ext cx="9471660" cy="3208020"/>
          </a:xfrm>
          <a:prstGeom prst="rect">
            <a:avLst/>
          </a:prstGeom>
        </p:spPr>
      </p:pic>
      <p:sp>
        <p:nvSpPr>
          <p:cNvPr id="4" name="Oval 3">
            <a:extLst>
              <a:ext uri="{FF2B5EF4-FFF2-40B4-BE49-F238E27FC236}">
                <a16:creationId xmlns:a16="http://schemas.microsoft.com/office/drawing/2014/main" id="{C37EA920-6376-A627-7FF5-1B32B72C9CBA}"/>
              </a:ext>
            </a:extLst>
          </p:cNvPr>
          <p:cNvSpPr/>
          <p:nvPr/>
        </p:nvSpPr>
        <p:spPr>
          <a:xfrm>
            <a:off x="1228051" y="2138794"/>
            <a:ext cx="1041424" cy="343142"/>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988574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itHub Issues (II)</a:t>
            </a:r>
          </a:p>
        </p:txBody>
      </p:sp>
      <p:sp>
        <p:nvSpPr>
          <p:cNvPr id="3" name="Content Placeholder 2"/>
          <p:cNvSpPr>
            <a:spLocks noGrp="1"/>
          </p:cNvSpPr>
          <p:nvPr>
            <p:ph idx="1"/>
            <p:custDataLst>
              <p:tags r:id="rId1"/>
            </p:custDataLst>
          </p:nvPr>
        </p:nvSpPr>
        <p:spPr>
          <a:xfrm>
            <a:off x="677334" y="4325496"/>
            <a:ext cx="9248864" cy="3188651"/>
          </a:xfrm>
        </p:spPr>
        <p:txBody>
          <a:bodyPr/>
          <a:lstStyle>
            <a:lvl1pPr marL="342900" indent="-342900" algn="l" defTabSz="457200" rtl="0" eaLnBrk="1" latinLnBrk="0" hangingPunct="1">
              <a:buClr>
                <a:schemeClr val="accent1"/>
              </a:buClr>
              <a:buSzPct val="80000"/>
              <a:buFont typeface="Wingdings 3" charset="2"/>
              <a:buChar char=""/>
            </a:lvl1pPr>
            <a:lvl2pPr marL="742950" indent="-285750" algn="l" defTabSz="457200" rtl="0" eaLnBrk="1" latinLnBrk="0" hangingPunct="1">
              <a:buClr>
                <a:schemeClr val="accent1"/>
              </a:buClr>
              <a:buSzPct val="80000"/>
              <a:buFont typeface="Wingdings 3" charset="2"/>
              <a:buChar char=""/>
            </a:lvl2pPr>
            <a:lvl3pPr marL="1143000" indent="-228600" algn="l" defTabSz="457200" rtl="0" eaLnBrk="1" latinLnBrk="0" hangingPunct="1">
              <a:buClr>
                <a:schemeClr val="accent1"/>
              </a:buClr>
              <a:buSzPct val="80000"/>
              <a:buFont typeface="Wingdings 3" charset="2"/>
              <a:buChar char=""/>
            </a:lvl3pPr>
            <a:lvl4pPr marL="1600200" indent="-228600" algn="l" defTabSz="457200" rtl="0" eaLnBrk="1" latinLnBrk="0" hangingPunct="1">
              <a:buClr>
                <a:schemeClr val="accent1"/>
              </a:buClr>
              <a:buSzPct val="80000"/>
              <a:buFont typeface="Wingdings 3" charset="2"/>
              <a:buChar char=""/>
            </a:lvl4pPr>
            <a:lvl5pPr marL="2057400" indent="-228600" algn="l" defTabSz="457200" rtl="0" eaLnBrk="1" latinLnBrk="0" hangingPunct="1">
              <a:buClr>
                <a:schemeClr val="accent1"/>
              </a:buClr>
              <a:buSzPct val="80000"/>
              <a:buFont typeface="Wingdings 3" charset="2"/>
              <a:buChar char=""/>
            </a:lvl5pPr>
            <a:lvl6pPr marL="2514600" indent="-228600" algn="l" defTabSz="457200" rtl="0" eaLnBrk="1" latinLnBrk="0" hangingPunct="1">
              <a:buClr>
                <a:schemeClr val="accent1"/>
              </a:buClr>
              <a:buSzPct val="80000"/>
              <a:buFont typeface="Wingdings 3" charset="2"/>
              <a:buChar char=""/>
            </a:lvl6pPr>
            <a:lvl7pPr marL="2971800" indent="-228600" algn="l" defTabSz="457200" rtl="0" eaLnBrk="1" latinLnBrk="0" hangingPunct="1">
              <a:buClr>
                <a:schemeClr val="accent1"/>
              </a:buClr>
              <a:buSzPct val="80000"/>
              <a:buFont typeface="Wingdings 3" charset="2"/>
              <a:buChar char=""/>
            </a:lvl7pPr>
            <a:lvl8pPr marL="3429000" indent="-228600" algn="l" defTabSz="457200" rtl="0" eaLnBrk="1" latinLnBrk="0" hangingPunct="1">
              <a:buClr>
                <a:schemeClr val="accent1"/>
              </a:buClr>
              <a:buSzPct val="80000"/>
              <a:buFont typeface="Wingdings 3" charset="2"/>
              <a:buChar char=""/>
            </a:lvl8pPr>
            <a:lvl9pPr marL="3886200" indent="-228600" algn="l" defTabSz="457200" rtl="0" eaLnBrk="1" latinLnBrk="0" hangingPunct="1">
              <a:buClr>
                <a:schemeClr val="accent1"/>
              </a:buClr>
              <a:buSzPct val="80000"/>
              <a:buFont typeface="Wingdings 3" charset="2"/>
              <a:buChar char=""/>
            </a:lvl9pPr>
          </a:lstStyle>
          <a:p>
            <a:pPr>
              <a:buFont typeface="Arial" panose="020B0604020202020204" pitchFamily="34" charset="0"/>
              <a:buChar char="•"/>
            </a:pPr>
            <a:r>
              <a:rPr lang="en-GB" dirty="0">
                <a:solidFill>
                  <a:schemeClr val="tx1"/>
                </a:solidFill>
              </a:rPr>
              <a:t>We can use the search bar to check if there is an issue related to </a:t>
            </a:r>
            <a:r>
              <a:rPr lang="en-GB" dirty="0" err="1">
                <a:solidFill>
                  <a:schemeClr val="tx1"/>
                </a:solidFill>
                <a:latin typeface="Arial monospaced for SAP" panose="020B0609020202030204" pitchFamily="49" charset="0"/>
              </a:rPr>
              <a:t>dplyr</a:t>
            </a:r>
            <a:r>
              <a:rPr lang="en-GB" dirty="0">
                <a:solidFill>
                  <a:schemeClr val="tx1"/>
                </a:solidFill>
                <a:latin typeface="Arial monospaced for SAP" panose="020B0609020202030204" pitchFamily="49" charset="0"/>
              </a:rPr>
              <a:t>::filter()</a:t>
            </a:r>
            <a:r>
              <a:rPr lang="en-GB" dirty="0">
                <a:solidFill>
                  <a:schemeClr val="tx1"/>
                </a:solidFill>
              </a:rPr>
              <a:t>’s behaviour for missing values.</a:t>
            </a:r>
          </a:p>
          <a:p>
            <a:pPr>
              <a:buFont typeface="Arial" panose="020B0604020202020204" pitchFamily="34" charset="0"/>
              <a:buChar char="•"/>
            </a:pPr>
            <a:r>
              <a:rPr lang="en-GB" dirty="0">
                <a:solidFill>
                  <a:schemeClr val="tx1"/>
                </a:solidFill>
              </a:rPr>
              <a:t>There are 9 open issues in scope of our search.</a:t>
            </a:r>
          </a:p>
          <a:p>
            <a:pPr>
              <a:buFont typeface="Arial" panose="020B0604020202020204" pitchFamily="34" charset="0"/>
              <a:buChar char="•"/>
            </a:pPr>
            <a:r>
              <a:rPr lang="en-GB" dirty="0">
                <a:solidFill>
                  <a:schemeClr val="tx1"/>
                </a:solidFill>
              </a:rPr>
              <a:t>We can now browse through the issues and see if one of them matches our problem.</a:t>
            </a:r>
          </a:p>
          <a:p>
            <a:pPr>
              <a:buFont typeface="Arial" panose="020B0604020202020204" pitchFamily="34" charset="0"/>
              <a:buChar char="•"/>
            </a:pPr>
            <a:r>
              <a:rPr lang="en-GB" dirty="0">
                <a:solidFill>
                  <a:schemeClr val="tx1"/>
                </a:solidFill>
              </a:rPr>
              <a:t>If not, we can open an issue of our own under </a:t>
            </a:r>
            <a:r>
              <a:rPr lang="en-GB" dirty="0">
                <a:solidFill>
                  <a:schemeClr val="accent2"/>
                </a:solidFill>
              </a:rPr>
              <a:t>New issue</a:t>
            </a:r>
            <a:r>
              <a:rPr lang="en-GB" dirty="0">
                <a:solidFill>
                  <a:schemeClr val="tx1"/>
                </a:solidFill>
              </a:rPr>
              <a:t>.</a:t>
            </a:r>
          </a:p>
          <a:p>
            <a:pPr marL="0" indent="0">
              <a:buNone/>
            </a:pPr>
            <a:endParaRPr lang="en-GB" dirty="0">
              <a:solidFill>
                <a:schemeClr val="tx1"/>
              </a:solidFill>
            </a:endParaRPr>
          </a:p>
          <a:p>
            <a:endParaRPr lang="en-GB" dirty="0"/>
          </a:p>
        </p:txBody>
      </p:sp>
      <p:pic>
        <p:nvPicPr>
          <p:cNvPr id="9" name="Picture 8">
            <a:extLst>
              <a:ext uri="{FF2B5EF4-FFF2-40B4-BE49-F238E27FC236}">
                <a16:creationId xmlns:a16="http://schemas.microsoft.com/office/drawing/2014/main" id="{69993D65-B01C-EAC2-AA32-797825C197C9}"/>
              </a:ext>
            </a:extLst>
          </p:cNvPr>
          <p:cNvPicPr>
            <a:picLocks noChangeAspect="1"/>
          </p:cNvPicPr>
          <p:nvPr/>
        </p:nvPicPr>
        <p:blipFill>
          <a:blip r:embed="rId3"/>
          <a:stretch>
            <a:fillRect/>
          </a:stretch>
        </p:blipFill>
        <p:spPr>
          <a:xfrm>
            <a:off x="677334" y="1736132"/>
            <a:ext cx="9448800" cy="2232660"/>
          </a:xfrm>
          <a:prstGeom prst="rect">
            <a:avLst/>
          </a:prstGeom>
        </p:spPr>
      </p:pic>
      <p:sp>
        <p:nvSpPr>
          <p:cNvPr id="10" name="Oval 9">
            <a:extLst>
              <a:ext uri="{FF2B5EF4-FFF2-40B4-BE49-F238E27FC236}">
                <a16:creationId xmlns:a16="http://schemas.microsoft.com/office/drawing/2014/main" id="{B724D6F3-4AB0-88CC-25D9-8BBA3C4E217C}"/>
              </a:ext>
            </a:extLst>
          </p:cNvPr>
          <p:cNvSpPr/>
          <p:nvPr/>
        </p:nvSpPr>
        <p:spPr>
          <a:xfrm>
            <a:off x="1261101" y="1736132"/>
            <a:ext cx="2253279" cy="45936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03521FCA-41B3-330D-D86E-63A2D15ACC16}"/>
              </a:ext>
            </a:extLst>
          </p:cNvPr>
          <p:cNvSpPr/>
          <p:nvPr/>
        </p:nvSpPr>
        <p:spPr>
          <a:xfrm>
            <a:off x="9179356" y="1794244"/>
            <a:ext cx="1041424" cy="343142"/>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053404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itHub Issues (II)</a:t>
            </a:r>
          </a:p>
        </p:txBody>
      </p:sp>
      <p:sp>
        <p:nvSpPr>
          <p:cNvPr id="3" name="Content Placeholder 2"/>
          <p:cNvSpPr>
            <a:spLocks noGrp="1"/>
          </p:cNvSpPr>
          <p:nvPr>
            <p:ph idx="1"/>
            <p:custDataLst>
              <p:tags r:id="rId1"/>
            </p:custDataLst>
          </p:nvPr>
        </p:nvSpPr>
        <p:spPr>
          <a:xfrm>
            <a:off x="677334" y="4061088"/>
            <a:ext cx="9248864" cy="3188651"/>
          </a:xfrm>
        </p:spPr>
        <p:txBody>
          <a:bodyPr/>
          <a:lstStyle>
            <a:lvl1pPr marL="342900" indent="-342900" algn="l" defTabSz="457200" rtl="0" eaLnBrk="1" latinLnBrk="0" hangingPunct="1">
              <a:buClr>
                <a:schemeClr val="accent1"/>
              </a:buClr>
              <a:buSzPct val="80000"/>
              <a:buFont typeface="Wingdings 3" charset="2"/>
              <a:buChar char=""/>
            </a:lvl1pPr>
            <a:lvl2pPr marL="742950" indent="-285750" algn="l" defTabSz="457200" rtl="0" eaLnBrk="1" latinLnBrk="0" hangingPunct="1">
              <a:buClr>
                <a:schemeClr val="accent1"/>
              </a:buClr>
              <a:buSzPct val="80000"/>
              <a:buFont typeface="Wingdings 3" charset="2"/>
              <a:buChar char=""/>
            </a:lvl2pPr>
            <a:lvl3pPr marL="1143000" indent="-228600" algn="l" defTabSz="457200" rtl="0" eaLnBrk="1" latinLnBrk="0" hangingPunct="1">
              <a:buClr>
                <a:schemeClr val="accent1"/>
              </a:buClr>
              <a:buSzPct val="80000"/>
              <a:buFont typeface="Wingdings 3" charset="2"/>
              <a:buChar char=""/>
            </a:lvl3pPr>
            <a:lvl4pPr marL="1600200" indent="-228600" algn="l" defTabSz="457200" rtl="0" eaLnBrk="1" latinLnBrk="0" hangingPunct="1">
              <a:buClr>
                <a:schemeClr val="accent1"/>
              </a:buClr>
              <a:buSzPct val="80000"/>
              <a:buFont typeface="Wingdings 3" charset="2"/>
              <a:buChar char=""/>
            </a:lvl4pPr>
            <a:lvl5pPr marL="2057400" indent="-228600" algn="l" defTabSz="457200" rtl="0" eaLnBrk="1" latinLnBrk="0" hangingPunct="1">
              <a:buClr>
                <a:schemeClr val="accent1"/>
              </a:buClr>
              <a:buSzPct val="80000"/>
              <a:buFont typeface="Wingdings 3" charset="2"/>
              <a:buChar char=""/>
            </a:lvl5pPr>
            <a:lvl6pPr marL="2514600" indent="-228600" algn="l" defTabSz="457200" rtl="0" eaLnBrk="1" latinLnBrk="0" hangingPunct="1">
              <a:buClr>
                <a:schemeClr val="accent1"/>
              </a:buClr>
              <a:buSzPct val="80000"/>
              <a:buFont typeface="Wingdings 3" charset="2"/>
              <a:buChar char=""/>
            </a:lvl6pPr>
            <a:lvl7pPr marL="2971800" indent="-228600" algn="l" defTabSz="457200" rtl="0" eaLnBrk="1" latinLnBrk="0" hangingPunct="1">
              <a:buClr>
                <a:schemeClr val="accent1"/>
              </a:buClr>
              <a:buSzPct val="80000"/>
              <a:buFont typeface="Wingdings 3" charset="2"/>
              <a:buChar char=""/>
            </a:lvl7pPr>
            <a:lvl8pPr marL="3429000" indent="-228600" algn="l" defTabSz="457200" rtl="0" eaLnBrk="1" latinLnBrk="0" hangingPunct="1">
              <a:buClr>
                <a:schemeClr val="accent1"/>
              </a:buClr>
              <a:buSzPct val="80000"/>
              <a:buFont typeface="Wingdings 3" charset="2"/>
              <a:buChar char=""/>
            </a:lvl8pPr>
            <a:lvl9pPr marL="3886200" indent="-228600" algn="l" defTabSz="457200" rtl="0" eaLnBrk="1" latinLnBrk="0" hangingPunct="1">
              <a:buClr>
                <a:schemeClr val="accent1"/>
              </a:buClr>
              <a:buSzPct val="80000"/>
              <a:buFont typeface="Wingdings 3" charset="2"/>
              <a:buChar char=""/>
            </a:lvl9pPr>
          </a:lstStyle>
          <a:p>
            <a:pPr>
              <a:buFont typeface="Arial" panose="020B0604020202020204" pitchFamily="34" charset="0"/>
              <a:buChar char="•"/>
            </a:pPr>
            <a:r>
              <a:rPr lang="en-GB" dirty="0">
                <a:solidFill>
                  <a:schemeClr val="tx1"/>
                </a:solidFill>
              </a:rPr>
              <a:t>We can use the search bar to check if there is an issue related to </a:t>
            </a:r>
            <a:r>
              <a:rPr lang="en-GB" dirty="0" err="1">
                <a:solidFill>
                  <a:schemeClr val="tx1"/>
                </a:solidFill>
                <a:latin typeface="Arial monospaced for SAP" panose="020B0609020202030204" pitchFamily="49" charset="0"/>
              </a:rPr>
              <a:t>dplyr</a:t>
            </a:r>
            <a:r>
              <a:rPr lang="en-GB" dirty="0">
                <a:solidFill>
                  <a:schemeClr val="tx1"/>
                </a:solidFill>
                <a:latin typeface="Arial monospaced for SAP" panose="020B0609020202030204" pitchFamily="49" charset="0"/>
              </a:rPr>
              <a:t>::filter()</a:t>
            </a:r>
            <a:r>
              <a:rPr lang="en-GB" dirty="0">
                <a:solidFill>
                  <a:schemeClr val="tx1"/>
                </a:solidFill>
              </a:rPr>
              <a:t>’s behaviour for missing values.</a:t>
            </a:r>
          </a:p>
          <a:p>
            <a:pPr>
              <a:buFont typeface="Arial" panose="020B0604020202020204" pitchFamily="34" charset="0"/>
              <a:buChar char="•"/>
            </a:pPr>
            <a:r>
              <a:rPr lang="en-GB" dirty="0">
                <a:solidFill>
                  <a:schemeClr val="tx1"/>
                </a:solidFill>
              </a:rPr>
              <a:t>There are 9 open issues in scope of our search.</a:t>
            </a:r>
          </a:p>
          <a:p>
            <a:pPr>
              <a:buFont typeface="Arial" panose="020B0604020202020204" pitchFamily="34" charset="0"/>
              <a:buChar char="•"/>
            </a:pPr>
            <a:r>
              <a:rPr lang="en-GB" dirty="0">
                <a:solidFill>
                  <a:schemeClr val="tx1"/>
                </a:solidFill>
              </a:rPr>
              <a:t>We can now browse through the issues and see if one of them matches our problem.</a:t>
            </a:r>
          </a:p>
          <a:p>
            <a:pPr lvl="1">
              <a:buFont typeface="Wingdings" panose="05000000000000000000" pitchFamily="2" charset="2"/>
              <a:buChar char="Ø"/>
            </a:pPr>
            <a:r>
              <a:rPr lang="en-GB" sz="1800" dirty="0">
                <a:solidFill>
                  <a:schemeClr val="tx1"/>
                </a:solidFill>
              </a:rPr>
              <a:t>If not, we can open an issue of our own under </a:t>
            </a:r>
            <a:r>
              <a:rPr lang="en-GB" sz="1800" dirty="0">
                <a:solidFill>
                  <a:schemeClr val="accent2"/>
                </a:solidFill>
              </a:rPr>
              <a:t>New issue</a:t>
            </a:r>
            <a:r>
              <a:rPr lang="en-GB" sz="1800" dirty="0">
                <a:solidFill>
                  <a:schemeClr val="tx1"/>
                </a:solidFill>
              </a:rPr>
              <a:t>.</a:t>
            </a:r>
          </a:p>
          <a:p>
            <a:pPr lvl="1">
              <a:buFont typeface="Wingdings" panose="05000000000000000000" pitchFamily="2" charset="2"/>
              <a:buChar char="Ø"/>
            </a:pPr>
            <a:r>
              <a:rPr lang="en-GB" sz="1800" dirty="0">
                <a:solidFill>
                  <a:schemeClr val="tx1"/>
                </a:solidFill>
              </a:rPr>
              <a:t>If it does exist, we might want to leave a comment that we’re encountering the same issue.</a:t>
            </a:r>
          </a:p>
          <a:p>
            <a:pPr marL="0" indent="0">
              <a:buNone/>
            </a:pPr>
            <a:endParaRPr lang="en-GB" dirty="0">
              <a:solidFill>
                <a:schemeClr val="tx1"/>
              </a:solidFill>
            </a:endParaRPr>
          </a:p>
          <a:p>
            <a:endParaRPr lang="en-GB" dirty="0"/>
          </a:p>
        </p:txBody>
      </p:sp>
      <p:pic>
        <p:nvPicPr>
          <p:cNvPr id="9" name="Picture 8">
            <a:extLst>
              <a:ext uri="{FF2B5EF4-FFF2-40B4-BE49-F238E27FC236}">
                <a16:creationId xmlns:a16="http://schemas.microsoft.com/office/drawing/2014/main" id="{69993D65-B01C-EAC2-AA32-797825C197C9}"/>
              </a:ext>
            </a:extLst>
          </p:cNvPr>
          <p:cNvPicPr>
            <a:picLocks noChangeAspect="1"/>
          </p:cNvPicPr>
          <p:nvPr/>
        </p:nvPicPr>
        <p:blipFill>
          <a:blip r:embed="rId3"/>
          <a:stretch>
            <a:fillRect/>
          </a:stretch>
        </p:blipFill>
        <p:spPr>
          <a:xfrm>
            <a:off x="677334" y="1736132"/>
            <a:ext cx="9448800" cy="2232660"/>
          </a:xfrm>
          <a:prstGeom prst="rect">
            <a:avLst/>
          </a:prstGeom>
        </p:spPr>
      </p:pic>
      <p:sp>
        <p:nvSpPr>
          <p:cNvPr id="10" name="Oval 9">
            <a:extLst>
              <a:ext uri="{FF2B5EF4-FFF2-40B4-BE49-F238E27FC236}">
                <a16:creationId xmlns:a16="http://schemas.microsoft.com/office/drawing/2014/main" id="{B724D6F3-4AB0-88CC-25D9-8BBA3C4E217C}"/>
              </a:ext>
            </a:extLst>
          </p:cNvPr>
          <p:cNvSpPr/>
          <p:nvPr/>
        </p:nvSpPr>
        <p:spPr>
          <a:xfrm>
            <a:off x="1261101" y="1736132"/>
            <a:ext cx="2253279" cy="45936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03521FCA-41B3-330D-D86E-63A2D15ACC16}"/>
              </a:ext>
            </a:extLst>
          </p:cNvPr>
          <p:cNvSpPr/>
          <p:nvPr/>
        </p:nvSpPr>
        <p:spPr>
          <a:xfrm>
            <a:off x="9179356" y="1794244"/>
            <a:ext cx="1041424" cy="343142"/>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784117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AB8F4-742D-DAF5-2A22-6E81EFC32949}"/>
              </a:ext>
            </a:extLst>
          </p:cNvPr>
          <p:cNvSpPr>
            <a:spLocks noGrp="1"/>
          </p:cNvSpPr>
          <p:nvPr>
            <p:ph type="title"/>
          </p:nvPr>
        </p:nvSpPr>
        <p:spPr/>
        <p:txBody>
          <a:bodyPr/>
          <a:lstStyle/>
          <a:p>
            <a:r>
              <a:rPr lang="en-US" dirty="0"/>
              <a:t>Some basic terminology</a:t>
            </a:r>
          </a:p>
        </p:txBody>
      </p:sp>
      <p:pic>
        <p:nvPicPr>
          <p:cNvPr id="24" name="Graphic 23" descr="Line arrow: Anti-clockwise curve with solid fill">
            <a:extLst>
              <a:ext uri="{FF2B5EF4-FFF2-40B4-BE49-F238E27FC236}">
                <a16:creationId xmlns:a16="http://schemas.microsoft.com/office/drawing/2014/main" id="{F6289BF4-73E9-8B15-B660-28B469B92106}"/>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6332438">
            <a:off x="5889869" y="5216061"/>
            <a:ext cx="914400" cy="914400"/>
          </a:xfrm>
          <a:prstGeom prst="rect">
            <a:avLst/>
          </a:prstGeom>
        </p:spPr>
      </p:pic>
      <p:grpSp>
        <p:nvGrpSpPr>
          <p:cNvPr id="40" name="Group 39">
            <a:extLst>
              <a:ext uri="{FF2B5EF4-FFF2-40B4-BE49-F238E27FC236}">
                <a16:creationId xmlns:a16="http://schemas.microsoft.com/office/drawing/2014/main" id="{97A13500-F81F-7CF6-297B-AD4215231BA3}"/>
              </a:ext>
            </a:extLst>
          </p:cNvPr>
          <p:cNvGrpSpPr/>
          <p:nvPr/>
        </p:nvGrpSpPr>
        <p:grpSpPr>
          <a:xfrm>
            <a:off x="6916168" y="3739994"/>
            <a:ext cx="2473864" cy="2269586"/>
            <a:chOff x="3506310" y="3455988"/>
            <a:chExt cx="2473864" cy="2269586"/>
          </a:xfrm>
        </p:grpSpPr>
        <p:pic>
          <p:nvPicPr>
            <p:cNvPr id="28" name="Graphic 27" descr="Paper outline">
              <a:extLst>
                <a:ext uri="{FF2B5EF4-FFF2-40B4-BE49-F238E27FC236}">
                  <a16:creationId xmlns:a16="http://schemas.microsoft.com/office/drawing/2014/main" id="{66430122-A6F3-4AE3-5CB4-8810A107D8D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89374" y="3455988"/>
              <a:ext cx="1990800" cy="1990800"/>
            </a:xfrm>
            <a:prstGeom prst="rect">
              <a:avLst/>
            </a:prstGeom>
          </p:spPr>
        </p:pic>
        <p:pic>
          <p:nvPicPr>
            <p:cNvPr id="27" name="Graphic 26" descr="Paper outline">
              <a:extLst>
                <a:ext uri="{FF2B5EF4-FFF2-40B4-BE49-F238E27FC236}">
                  <a16:creationId xmlns:a16="http://schemas.microsoft.com/office/drawing/2014/main" id="{DEBC4C4B-8947-68B6-9841-BA3799C380D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54933" y="3573621"/>
              <a:ext cx="1990800" cy="1990800"/>
            </a:xfrm>
            <a:prstGeom prst="rect">
              <a:avLst/>
            </a:prstGeom>
          </p:spPr>
        </p:pic>
        <p:pic>
          <p:nvPicPr>
            <p:cNvPr id="26" name="Graphic 25" descr="Paper outline">
              <a:extLst>
                <a:ext uri="{FF2B5EF4-FFF2-40B4-BE49-F238E27FC236}">
                  <a16:creationId xmlns:a16="http://schemas.microsoft.com/office/drawing/2014/main" id="{FA44FB00-511C-A266-986E-D2CEF2A8317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06310" y="3734774"/>
              <a:ext cx="1990800" cy="1990800"/>
            </a:xfrm>
            <a:prstGeom prst="rect">
              <a:avLst/>
            </a:prstGeom>
          </p:spPr>
        </p:pic>
      </p:grpSp>
      <p:sp>
        <p:nvSpPr>
          <p:cNvPr id="3" name="Content Placeholder 2">
            <a:extLst>
              <a:ext uri="{FF2B5EF4-FFF2-40B4-BE49-F238E27FC236}">
                <a16:creationId xmlns:a16="http://schemas.microsoft.com/office/drawing/2014/main" id="{00884C7D-91E1-CEB6-E556-8BB19545CAFC}"/>
              </a:ext>
            </a:extLst>
          </p:cNvPr>
          <p:cNvSpPr>
            <a:spLocks noGrp="1"/>
          </p:cNvSpPr>
          <p:nvPr>
            <p:ph idx="1"/>
          </p:nvPr>
        </p:nvSpPr>
        <p:spPr/>
        <p:txBody>
          <a:bodyPr>
            <a:normAutofit/>
          </a:bodyPr>
          <a:lstStyle/>
          <a:p>
            <a:r>
              <a:rPr lang="en-US" sz="2400" b="1" dirty="0"/>
              <a:t>Repository</a:t>
            </a:r>
            <a:r>
              <a:rPr lang="en-US" sz="2400" dirty="0"/>
              <a:t> (aka repo): a collection of code you want to track together</a:t>
            </a:r>
          </a:p>
          <a:p>
            <a:r>
              <a:rPr lang="en-US" sz="2400" b="1" dirty="0"/>
              <a:t>Commit</a:t>
            </a:r>
            <a:r>
              <a:rPr lang="en-US" sz="2400" dirty="0"/>
              <a:t>: a saved version of your file/project</a:t>
            </a:r>
          </a:p>
          <a:p>
            <a:pPr lvl="1"/>
            <a:r>
              <a:rPr lang="en-US" sz="2000" dirty="0"/>
              <a:t>Only track change</a:t>
            </a:r>
          </a:p>
          <a:p>
            <a:pPr lvl="1"/>
            <a:r>
              <a:rPr lang="en-US" sz="2000" dirty="0"/>
              <a:t>One commit can have changes to multiple files </a:t>
            </a:r>
          </a:p>
        </p:txBody>
      </p:sp>
      <p:grpSp>
        <p:nvGrpSpPr>
          <p:cNvPr id="13" name="Group 12">
            <a:extLst>
              <a:ext uri="{FF2B5EF4-FFF2-40B4-BE49-F238E27FC236}">
                <a16:creationId xmlns:a16="http://schemas.microsoft.com/office/drawing/2014/main" id="{8FA8F074-E1CC-B476-C119-05124C313B9A}"/>
              </a:ext>
            </a:extLst>
          </p:cNvPr>
          <p:cNvGrpSpPr/>
          <p:nvPr/>
        </p:nvGrpSpPr>
        <p:grpSpPr>
          <a:xfrm>
            <a:off x="7749029" y="448724"/>
            <a:ext cx="1735384" cy="1735384"/>
            <a:chOff x="10450266" y="2246314"/>
            <a:chExt cx="914400" cy="914400"/>
          </a:xfrm>
        </p:grpSpPr>
        <p:pic>
          <p:nvPicPr>
            <p:cNvPr id="10" name="Graphic 9" descr="Open folder with solid fill">
              <a:extLst>
                <a:ext uri="{FF2B5EF4-FFF2-40B4-BE49-F238E27FC236}">
                  <a16:creationId xmlns:a16="http://schemas.microsoft.com/office/drawing/2014/main" id="{9ED0E170-794F-32FE-929B-2FAEC18E575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450266" y="2246314"/>
              <a:ext cx="914400" cy="914400"/>
            </a:xfrm>
            <a:prstGeom prst="rect">
              <a:avLst/>
            </a:prstGeom>
          </p:spPr>
        </p:pic>
        <p:pic>
          <p:nvPicPr>
            <p:cNvPr id="12" name="Graphic 11" descr="Open folder outline">
              <a:extLst>
                <a:ext uri="{FF2B5EF4-FFF2-40B4-BE49-F238E27FC236}">
                  <a16:creationId xmlns:a16="http://schemas.microsoft.com/office/drawing/2014/main" id="{599B8DCF-DCA5-D6ED-4D74-5EB802FB8C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450266" y="2246314"/>
              <a:ext cx="914400" cy="914400"/>
            </a:xfrm>
            <a:prstGeom prst="rect">
              <a:avLst/>
            </a:prstGeom>
          </p:spPr>
        </p:pic>
      </p:grpSp>
      <p:sp>
        <p:nvSpPr>
          <p:cNvPr id="14" name="Oval 13">
            <a:extLst>
              <a:ext uri="{FF2B5EF4-FFF2-40B4-BE49-F238E27FC236}">
                <a16:creationId xmlns:a16="http://schemas.microsoft.com/office/drawing/2014/main" id="{4766284D-D3F8-9B4C-9771-626FE2A00C1F}"/>
              </a:ext>
            </a:extLst>
          </p:cNvPr>
          <p:cNvSpPr/>
          <p:nvPr/>
        </p:nvSpPr>
        <p:spPr>
          <a:xfrm>
            <a:off x="4803724" y="4693543"/>
            <a:ext cx="1028700" cy="1028700"/>
          </a:xfrm>
          <a:prstGeom prst="ellipse">
            <a:avLst/>
          </a:prstGeom>
          <a:solidFill>
            <a:srgbClr val="78C2AD"/>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a:extLst>
              <a:ext uri="{FF2B5EF4-FFF2-40B4-BE49-F238E27FC236}">
                <a16:creationId xmlns:a16="http://schemas.microsoft.com/office/drawing/2014/main" id="{6EA5082C-8D89-AACF-A740-1541C5493592}"/>
              </a:ext>
            </a:extLst>
          </p:cNvPr>
          <p:cNvGrpSpPr/>
          <p:nvPr/>
        </p:nvGrpSpPr>
        <p:grpSpPr>
          <a:xfrm>
            <a:off x="6626703" y="4212884"/>
            <a:ext cx="1990018" cy="1990018"/>
            <a:chOff x="3294592" y="3918304"/>
            <a:chExt cx="1990018" cy="1990018"/>
          </a:xfrm>
        </p:grpSpPr>
        <p:sp>
          <p:nvSpPr>
            <p:cNvPr id="38" name="Right Triangle 37">
              <a:extLst>
                <a:ext uri="{FF2B5EF4-FFF2-40B4-BE49-F238E27FC236}">
                  <a16:creationId xmlns:a16="http://schemas.microsoft.com/office/drawing/2014/main" id="{21FF7F72-FA9E-3A05-5542-66BD4E4E1A2F}"/>
                </a:ext>
              </a:extLst>
            </p:cNvPr>
            <p:cNvSpPr/>
            <p:nvPr/>
          </p:nvSpPr>
          <p:spPr>
            <a:xfrm flipH="1">
              <a:off x="4443412" y="5151251"/>
              <a:ext cx="457199" cy="56374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rapezium 35">
              <a:extLst>
                <a:ext uri="{FF2B5EF4-FFF2-40B4-BE49-F238E27FC236}">
                  <a16:creationId xmlns:a16="http://schemas.microsoft.com/office/drawing/2014/main" id="{71EDF6F3-3EF0-2175-C155-BDA439F0B600}"/>
                </a:ext>
              </a:extLst>
            </p:cNvPr>
            <p:cNvSpPr/>
            <p:nvPr/>
          </p:nvSpPr>
          <p:spPr>
            <a:xfrm rot="5400000">
              <a:off x="3865274" y="4679664"/>
              <a:ext cx="1613475" cy="457199"/>
            </a:xfrm>
            <a:prstGeom prst="trapezoid">
              <a:avLst>
                <a:gd name="adj" fmla="val 9782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85CE57E9-706D-1C62-E930-33A2C65F396F}"/>
                </a:ext>
              </a:extLst>
            </p:cNvPr>
            <p:cNvSpPr/>
            <p:nvPr/>
          </p:nvSpPr>
          <p:spPr>
            <a:xfrm>
              <a:off x="3700463" y="4100513"/>
              <a:ext cx="742950" cy="16144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3116248B-0389-A5D5-3BF6-6EE047F8784E}"/>
                </a:ext>
              </a:extLst>
            </p:cNvPr>
            <p:cNvGrpSpPr/>
            <p:nvPr/>
          </p:nvGrpSpPr>
          <p:grpSpPr>
            <a:xfrm>
              <a:off x="3294592" y="3918304"/>
              <a:ext cx="1990018" cy="1990018"/>
              <a:chOff x="3696407" y="4070350"/>
              <a:chExt cx="2190750" cy="2190750"/>
            </a:xfrm>
          </p:grpSpPr>
          <p:pic>
            <p:nvPicPr>
              <p:cNvPr id="16" name="Graphic 15" descr="Paper outline">
                <a:extLst>
                  <a:ext uri="{FF2B5EF4-FFF2-40B4-BE49-F238E27FC236}">
                    <a16:creationId xmlns:a16="http://schemas.microsoft.com/office/drawing/2014/main" id="{1C8F963D-0CF6-33C1-66E4-41440C0200B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96407" y="4070350"/>
                <a:ext cx="2190750" cy="2190750"/>
              </a:xfrm>
              <a:prstGeom prst="rect">
                <a:avLst/>
              </a:prstGeom>
            </p:spPr>
          </p:pic>
          <p:sp>
            <p:nvSpPr>
              <p:cNvPr id="19" name="Rectangle 18">
                <a:extLst>
                  <a:ext uri="{FF2B5EF4-FFF2-40B4-BE49-F238E27FC236}">
                    <a16:creationId xmlns:a16="http://schemas.microsoft.com/office/drawing/2014/main" id="{620ECDB9-249E-A612-3B15-9CF1367C1A21}"/>
                  </a:ext>
                </a:extLst>
              </p:cNvPr>
              <p:cNvSpPr/>
              <p:nvPr/>
            </p:nvSpPr>
            <p:spPr>
              <a:xfrm>
                <a:off x="4284576" y="4913313"/>
                <a:ext cx="1014412" cy="101600"/>
              </a:xfrm>
              <a:prstGeom prst="rect">
                <a:avLst/>
              </a:prstGeom>
              <a:solidFill>
                <a:srgbClr val="FFDF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2FD8197-C3B5-8695-7C02-90F8ADBFA7C1}"/>
                  </a:ext>
                </a:extLst>
              </p:cNvPr>
              <p:cNvSpPr/>
              <p:nvPr/>
            </p:nvSpPr>
            <p:spPr>
              <a:xfrm>
                <a:off x="4284576" y="5096207"/>
                <a:ext cx="1014412" cy="331456"/>
              </a:xfrm>
              <a:prstGeom prst="rect">
                <a:avLst/>
              </a:prstGeom>
              <a:solidFill>
                <a:srgbClr val="DEFE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8976A41-4B7B-29D3-B158-1B6CAEF7D08F}"/>
                  </a:ext>
                </a:extLst>
              </p:cNvPr>
              <p:cNvSpPr/>
              <p:nvPr/>
            </p:nvSpPr>
            <p:spPr>
              <a:xfrm>
                <a:off x="4284576" y="5683712"/>
                <a:ext cx="1014412" cy="174164"/>
              </a:xfrm>
              <a:prstGeom prst="rect">
                <a:avLst/>
              </a:prstGeom>
              <a:solidFill>
                <a:srgbClr val="FFDF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35982038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14"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uthoring GitHub Issues (I)</a:t>
            </a:r>
          </a:p>
        </p:txBody>
      </p:sp>
      <p:pic>
        <p:nvPicPr>
          <p:cNvPr id="7" name="Picture 6">
            <a:extLst>
              <a:ext uri="{FF2B5EF4-FFF2-40B4-BE49-F238E27FC236}">
                <a16:creationId xmlns:a16="http://schemas.microsoft.com/office/drawing/2014/main" id="{18211196-8165-EFDF-CD0B-B06A6AEF42D6}"/>
              </a:ext>
            </a:extLst>
          </p:cNvPr>
          <p:cNvPicPr>
            <a:picLocks noChangeAspect="1"/>
          </p:cNvPicPr>
          <p:nvPr/>
        </p:nvPicPr>
        <p:blipFill>
          <a:blip r:embed="rId2"/>
          <a:stretch>
            <a:fillRect/>
          </a:stretch>
        </p:blipFill>
        <p:spPr>
          <a:xfrm>
            <a:off x="677334" y="1457325"/>
            <a:ext cx="9391650" cy="4791075"/>
          </a:xfrm>
          <a:prstGeom prst="rect">
            <a:avLst/>
          </a:prstGeom>
        </p:spPr>
      </p:pic>
      <p:sp>
        <p:nvSpPr>
          <p:cNvPr id="8" name="Down Arrow 7">
            <a:extLst>
              <a:ext uri="{FF2B5EF4-FFF2-40B4-BE49-F238E27FC236}">
                <a16:creationId xmlns:a16="http://schemas.microsoft.com/office/drawing/2014/main" id="{50C89C8E-E36E-ED77-130A-3408C7BB76AB}"/>
              </a:ext>
            </a:extLst>
          </p:cNvPr>
          <p:cNvSpPr/>
          <p:nvPr/>
        </p:nvSpPr>
        <p:spPr>
          <a:xfrm rot="1977151" flipV="1">
            <a:off x="5947083" y="1310443"/>
            <a:ext cx="620296" cy="605686"/>
          </a:xfrm>
          <a:prstGeom prst="downArrow">
            <a:avLst>
              <a:gd name="adj1" fmla="val 20588"/>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100399FE-4C51-3E47-FA74-17ADB87481F5}"/>
              </a:ext>
            </a:extLst>
          </p:cNvPr>
          <p:cNvSpPr txBox="1"/>
          <p:nvPr/>
        </p:nvSpPr>
        <p:spPr>
          <a:xfrm>
            <a:off x="6201396" y="954324"/>
            <a:ext cx="1784733" cy="461665"/>
          </a:xfrm>
          <a:prstGeom prst="rect">
            <a:avLst/>
          </a:prstGeom>
          <a:noFill/>
        </p:spPr>
        <p:txBody>
          <a:bodyPr wrap="square" rtlCol="0">
            <a:spAutoFit/>
          </a:bodyPr>
          <a:lstStyle/>
          <a:p>
            <a:pPr algn="ctr"/>
            <a:r>
              <a:rPr lang="de-DE" sz="1200" dirty="0"/>
              <a:t>Choose a meaningful title</a:t>
            </a:r>
          </a:p>
        </p:txBody>
      </p:sp>
      <p:sp>
        <p:nvSpPr>
          <p:cNvPr id="13" name="Down Arrow 7">
            <a:extLst>
              <a:ext uri="{FF2B5EF4-FFF2-40B4-BE49-F238E27FC236}">
                <a16:creationId xmlns:a16="http://schemas.microsoft.com/office/drawing/2014/main" id="{35B464A5-BE48-3150-F3BB-DE9AC333E3FB}"/>
              </a:ext>
            </a:extLst>
          </p:cNvPr>
          <p:cNvSpPr/>
          <p:nvPr/>
        </p:nvSpPr>
        <p:spPr>
          <a:xfrm rot="5400000" flipV="1">
            <a:off x="4203681" y="3403025"/>
            <a:ext cx="620296" cy="764408"/>
          </a:xfrm>
          <a:prstGeom prst="downArrow">
            <a:avLst>
              <a:gd name="adj1" fmla="val 20588"/>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40AB3926-6FBF-15D7-C5BC-722E7DAC43B1}"/>
              </a:ext>
            </a:extLst>
          </p:cNvPr>
          <p:cNvSpPr txBox="1"/>
          <p:nvPr/>
        </p:nvSpPr>
        <p:spPr>
          <a:xfrm>
            <a:off x="4975668" y="3574878"/>
            <a:ext cx="1784733" cy="1200329"/>
          </a:xfrm>
          <a:prstGeom prst="rect">
            <a:avLst/>
          </a:prstGeom>
          <a:noFill/>
        </p:spPr>
        <p:txBody>
          <a:bodyPr wrap="square" rtlCol="0">
            <a:spAutoFit/>
          </a:bodyPr>
          <a:lstStyle/>
          <a:p>
            <a:pPr marL="171450" indent="-171450">
              <a:buFont typeface="Arial" panose="020B0604020202020204" pitchFamily="34" charset="0"/>
              <a:buChar char="•"/>
            </a:pPr>
            <a:r>
              <a:rPr lang="de-DE" sz="1200" dirty="0">
                <a:solidFill>
                  <a:schemeClr val="accent2"/>
                </a:solidFill>
              </a:rPr>
              <a:t>Describe your problem</a:t>
            </a:r>
          </a:p>
          <a:p>
            <a:pPr marL="171450" indent="-171450">
              <a:buFont typeface="Arial" panose="020B0604020202020204" pitchFamily="34" charset="0"/>
              <a:buChar char="•"/>
            </a:pPr>
            <a:r>
              <a:rPr lang="de-DE" sz="1200" dirty="0">
                <a:solidFill>
                  <a:schemeClr val="accent2"/>
                </a:solidFill>
              </a:rPr>
              <a:t>Use code blocks to provide reproducible example for the author</a:t>
            </a:r>
          </a:p>
        </p:txBody>
      </p:sp>
      <p:sp>
        <p:nvSpPr>
          <p:cNvPr id="16" name="Oval 15">
            <a:extLst>
              <a:ext uri="{FF2B5EF4-FFF2-40B4-BE49-F238E27FC236}">
                <a16:creationId xmlns:a16="http://schemas.microsoft.com/office/drawing/2014/main" id="{8150E974-9ABF-F777-69BB-B3DA7C51C827}"/>
              </a:ext>
            </a:extLst>
          </p:cNvPr>
          <p:cNvSpPr/>
          <p:nvPr/>
        </p:nvSpPr>
        <p:spPr>
          <a:xfrm>
            <a:off x="1276388" y="3429000"/>
            <a:ext cx="1693255" cy="45936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6901000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uthoring GitHub Issues (II)</a:t>
            </a:r>
          </a:p>
        </p:txBody>
      </p:sp>
      <p:pic>
        <p:nvPicPr>
          <p:cNvPr id="4" name="Picture 3">
            <a:extLst>
              <a:ext uri="{FF2B5EF4-FFF2-40B4-BE49-F238E27FC236}">
                <a16:creationId xmlns:a16="http://schemas.microsoft.com/office/drawing/2014/main" id="{47ECECF5-A72E-9B73-1DEA-8154A4072D29}"/>
              </a:ext>
            </a:extLst>
          </p:cNvPr>
          <p:cNvPicPr>
            <a:picLocks noChangeAspect="1"/>
          </p:cNvPicPr>
          <p:nvPr/>
        </p:nvPicPr>
        <p:blipFill>
          <a:blip r:embed="rId2"/>
          <a:stretch>
            <a:fillRect/>
          </a:stretch>
        </p:blipFill>
        <p:spPr>
          <a:xfrm>
            <a:off x="677334" y="1704989"/>
            <a:ext cx="9220200" cy="4762500"/>
          </a:xfrm>
          <a:prstGeom prst="rect">
            <a:avLst/>
          </a:prstGeom>
        </p:spPr>
      </p:pic>
      <p:sp>
        <p:nvSpPr>
          <p:cNvPr id="16" name="Oval 15">
            <a:extLst>
              <a:ext uri="{FF2B5EF4-FFF2-40B4-BE49-F238E27FC236}">
                <a16:creationId xmlns:a16="http://schemas.microsoft.com/office/drawing/2014/main" id="{8150E974-9ABF-F777-69BB-B3DA7C51C827}"/>
              </a:ext>
            </a:extLst>
          </p:cNvPr>
          <p:cNvSpPr/>
          <p:nvPr/>
        </p:nvSpPr>
        <p:spPr>
          <a:xfrm>
            <a:off x="1997009" y="2295934"/>
            <a:ext cx="1146430" cy="45936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Oval 4">
            <a:extLst>
              <a:ext uri="{FF2B5EF4-FFF2-40B4-BE49-F238E27FC236}">
                <a16:creationId xmlns:a16="http://schemas.microsoft.com/office/drawing/2014/main" id="{BE9B9A0E-E7BE-FD49-FEF5-9B1CE7FA3171}"/>
              </a:ext>
            </a:extLst>
          </p:cNvPr>
          <p:cNvSpPr/>
          <p:nvPr/>
        </p:nvSpPr>
        <p:spPr>
          <a:xfrm>
            <a:off x="8102538" y="5896613"/>
            <a:ext cx="1693255" cy="459366"/>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Down Arrow 7">
            <a:extLst>
              <a:ext uri="{FF2B5EF4-FFF2-40B4-BE49-F238E27FC236}">
                <a16:creationId xmlns:a16="http://schemas.microsoft.com/office/drawing/2014/main" id="{CFE4C295-D3A7-8FEE-AEC0-9AC376D2BBE5}"/>
              </a:ext>
            </a:extLst>
          </p:cNvPr>
          <p:cNvSpPr/>
          <p:nvPr/>
        </p:nvSpPr>
        <p:spPr>
          <a:xfrm rot="5400000" flipV="1">
            <a:off x="3751989" y="2169134"/>
            <a:ext cx="620296" cy="764408"/>
          </a:xfrm>
          <a:prstGeom prst="downArrow">
            <a:avLst>
              <a:gd name="adj1" fmla="val 20588"/>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387DA05D-BBE3-E24E-7C0E-FFAA28A303C9}"/>
              </a:ext>
            </a:extLst>
          </p:cNvPr>
          <p:cNvSpPr txBox="1"/>
          <p:nvPr/>
        </p:nvSpPr>
        <p:spPr>
          <a:xfrm>
            <a:off x="4523976" y="2340987"/>
            <a:ext cx="2548853" cy="646331"/>
          </a:xfrm>
          <a:prstGeom prst="rect">
            <a:avLst/>
          </a:prstGeom>
          <a:noFill/>
        </p:spPr>
        <p:txBody>
          <a:bodyPr wrap="square" rtlCol="0">
            <a:spAutoFit/>
          </a:bodyPr>
          <a:lstStyle/>
          <a:p>
            <a:pPr algn="ctr"/>
            <a:r>
              <a:rPr lang="de-DE" sz="1200" dirty="0">
                <a:solidFill>
                  <a:schemeClr val="accent2"/>
                </a:solidFill>
              </a:rPr>
              <a:t>Navigate to Preview to see the properly rendered version of your Issue</a:t>
            </a:r>
          </a:p>
        </p:txBody>
      </p:sp>
    </p:spTree>
    <p:extLst>
      <p:ext uri="{BB962C8B-B14F-4D97-AF65-F5344CB8AC3E}">
        <p14:creationId xmlns:p14="http://schemas.microsoft.com/office/powerpoint/2010/main" val="21893145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DA2B2-9100-DD46-2ACD-50A06423F025}"/>
              </a:ext>
            </a:extLst>
          </p:cNvPr>
          <p:cNvSpPr>
            <a:spLocks noGrp="1"/>
          </p:cNvSpPr>
          <p:nvPr>
            <p:ph type="title"/>
          </p:nvPr>
        </p:nvSpPr>
        <p:spPr/>
        <p:txBody>
          <a:bodyPr/>
          <a:lstStyle/>
          <a:p>
            <a:r>
              <a:rPr lang="en-US" dirty="0"/>
              <a:t>Summary - What we covered today</a:t>
            </a:r>
          </a:p>
        </p:txBody>
      </p:sp>
      <p:graphicFrame>
        <p:nvGraphicFramePr>
          <p:cNvPr id="6" name="Table 6">
            <a:extLst>
              <a:ext uri="{FF2B5EF4-FFF2-40B4-BE49-F238E27FC236}">
                <a16:creationId xmlns:a16="http://schemas.microsoft.com/office/drawing/2014/main" id="{ECA42ADB-8EF3-A49A-D7EB-9762008AB825}"/>
              </a:ext>
            </a:extLst>
          </p:cNvPr>
          <p:cNvGraphicFramePr>
            <a:graphicFrameLocks noGrp="1"/>
          </p:cNvGraphicFramePr>
          <p:nvPr>
            <p:extLst>
              <p:ext uri="{D42A27DB-BD31-4B8C-83A1-F6EECF244321}">
                <p14:modId xmlns:p14="http://schemas.microsoft.com/office/powerpoint/2010/main" val="3337806732"/>
              </p:ext>
            </p:extLst>
          </p:nvPr>
        </p:nvGraphicFramePr>
        <p:xfrm>
          <a:off x="677333" y="1942537"/>
          <a:ext cx="8830224" cy="4429760"/>
        </p:xfrm>
        <a:graphic>
          <a:graphicData uri="http://schemas.openxmlformats.org/drawingml/2006/table">
            <a:tbl>
              <a:tblPr firstRow="1" bandRow="1">
                <a:tableStyleId>{5C22544A-7EE6-4342-B048-85BDC9FD1C3A}</a:tableStyleId>
              </a:tblPr>
              <a:tblGrid>
                <a:gridCol w="4599747">
                  <a:extLst>
                    <a:ext uri="{9D8B030D-6E8A-4147-A177-3AD203B41FA5}">
                      <a16:colId xmlns:a16="http://schemas.microsoft.com/office/drawing/2014/main" val="1196128694"/>
                    </a:ext>
                  </a:extLst>
                </a:gridCol>
                <a:gridCol w="4230477">
                  <a:extLst>
                    <a:ext uri="{9D8B030D-6E8A-4147-A177-3AD203B41FA5}">
                      <a16:colId xmlns:a16="http://schemas.microsoft.com/office/drawing/2014/main" val="2420397215"/>
                    </a:ext>
                  </a:extLst>
                </a:gridCol>
              </a:tblGrid>
              <a:tr h="4392160">
                <a:tc>
                  <a:txBody>
                    <a:bodyPr/>
                    <a:lstStyle/>
                    <a:p>
                      <a:pPr marL="0" marR="0" lvl="0" indent="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None/>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mn-lt"/>
                          <a:ea typeface="+mn-ea"/>
                          <a:cs typeface="+mn-cs"/>
                        </a:rPr>
                        <a:t>In Theory: </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Git vs GitHub </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Committing</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Tagging </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Branching </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Merging (and dealing with conflicts)</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Remotes </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Forking</a:t>
                      </a:r>
                    </a:p>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None/>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mn-lt"/>
                          <a:ea typeface="+mn-ea"/>
                          <a:cs typeface="+mn-cs"/>
                        </a:rPr>
                        <a:t>In Practice:</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Forking</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Creating a project in RStudio</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How to connect RStudio to GitHub</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Committing in RStudio</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Staging/Working Directory/Local Repo </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Pull requests </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Merge conflicts </a:t>
                      </a:r>
                    </a:p>
                    <a:p>
                      <a:pPr marL="742950" marR="0" lvl="1" indent="-285750" algn="l" defTabSz="457200" rtl="0" eaLnBrk="1" fontAlgn="auto" latinLnBrk="0" hangingPunct="1">
                        <a:lnSpc>
                          <a:spcPct val="100000"/>
                        </a:lnSpc>
                        <a:spcBef>
                          <a:spcPts val="1000"/>
                        </a:spcBef>
                        <a:spcAft>
                          <a:spcPts val="0"/>
                        </a:spcAft>
                        <a:buClr>
                          <a:srgbClr val="5FCBEF"/>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rPr>
                        <a:t>Checking/ Authoring Issues</a:t>
                      </a:r>
                    </a:p>
                    <a:p>
                      <a:endParaRPr lang="de-D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5255345"/>
                  </a:ext>
                </a:extLst>
              </a:tr>
            </a:tbl>
          </a:graphicData>
        </a:graphic>
      </p:graphicFrame>
    </p:spTree>
    <p:extLst>
      <p:ext uri="{BB962C8B-B14F-4D97-AF65-F5344CB8AC3E}">
        <p14:creationId xmlns:p14="http://schemas.microsoft.com/office/powerpoint/2010/main" val="230955988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ditional resources</a:t>
            </a:r>
          </a:p>
        </p:txBody>
      </p:sp>
      <p:sp>
        <p:nvSpPr>
          <p:cNvPr id="3" name="Content Placeholder 2"/>
          <p:cNvSpPr>
            <a:spLocks noGrp="1"/>
          </p:cNvSpPr>
          <p:nvPr>
            <p:ph idx="1"/>
          </p:nvPr>
        </p:nvSpPr>
        <p:spPr/>
        <p:txBody>
          <a:bodyPr>
            <a:normAutofit/>
          </a:bodyPr>
          <a:lstStyle/>
          <a:p>
            <a:r>
              <a:rPr lang="en-GB" sz="2400" dirty="0">
                <a:hlinkClick r:id="rId2"/>
              </a:rPr>
              <a:t>git --fast-version-control</a:t>
            </a:r>
            <a:r>
              <a:rPr lang="en-GB" sz="2400" dirty="0"/>
              <a:t> </a:t>
            </a:r>
          </a:p>
          <a:p>
            <a:r>
              <a:rPr lang="en-US" sz="2400" dirty="0">
                <a:hlinkClick r:id="rId3"/>
              </a:rPr>
              <a:t>Pro Git (by Scott Chacon and Ben Straub)</a:t>
            </a:r>
            <a:endParaRPr lang="en-GB" sz="2400" dirty="0"/>
          </a:p>
          <a:p>
            <a:r>
              <a:rPr lang="en-US" sz="2400" dirty="0">
                <a:hlinkClick r:id="rId4"/>
              </a:rPr>
              <a:t>GitHub Docs: Help for wherever you are on your GitHub journey.</a:t>
            </a:r>
            <a:endParaRPr lang="en-GB" sz="2400" dirty="0"/>
          </a:p>
          <a:p>
            <a:r>
              <a:rPr lang="en-GB" sz="2400" dirty="0">
                <a:hlinkClick r:id="rId5"/>
              </a:rPr>
              <a:t>Git Cheat Sheet</a:t>
            </a:r>
            <a:endParaRPr lang="en-GB" sz="2400" dirty="0"/>
          </a:p>
          <a:p>
            <a:r>
              <a:rPr lang="en-US" sz="2400" dirty="0">
                <a:hlinkClick r:id="rId6"/>
              </a:rPr>
              <a:t>Happy Git and GitHub for the </a:t>
            </a:r>
            <a:r>
              <a:rPr lang="en-US" sz="2400" dirty="0" err="1">
                <a:hlinkClick r:id="rId6"/>
              </a:rPr>
              <a:t>useR</a:t>
            </a:r>
            <a:r>
              <a:rPr lang="en-US" sz="2400" dirty="0">
                <a:hlinkClick r:id="rId6"/>
              </a:rPr>
              <a:t> (by Jenny Bryan)</a:t>
            </a:r>
            <a:endParaRPr lang="en-GB" sz="2400" dirty="0"/>
          </a:p>
          <a:p>
            <a:endParaRPr lang="en-GB" sz="2400" dirty="0"/>
          </a:p>
          <a:p>
            <a:endParaRPr lang="en-GB" sz="2400" b="1" dirty="0"/>
          </a:p>
          <a:p>
            <a:endParaRPr lang="en-GB" sz="2400" dirty="0"/>
          </a:p>
          <a:p>
            <a:endParaRPr lang="en-GB" sz="2400" dirty="0"/>
          </a:p>
        </p:txBody>
      </p:sp>
    </p:spTree>
    <p:extLst>
      <p:ext uri="{BB962C8B-B14F-4D97-AF65-F5344CB8AC3E}">
        <p14:creationId xmlns:p14="http://schemas.microsoft.com/office/powerpoint/2010/main" val="25427427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D4AED-4CFD-7ECE-FECD-AA032A3F04F2}"/>
              </a:ext>
            </a:extLst>
          </p:cNvPr>
          <p:cNvSpPr>
            <a:spLocks noGrp="1"/>
          </p:cNvSpPr>
          <p:nvPr>
            <p:ph type="title"/>
          </p:nvPr>
        </p:nvSpPr>
        <p:spPr>
          <a:xfrm>
            <a:off x="681346" y="543251"/>
            <a:ext cx="8596668" cy="1320800"/>
          </a:xfrm>
        </p:spPr>
        <p:txBody>
          <a:bodyPr/>
          <a:lstStyle/>
          <a:p>
            <a:r>
              <a:rPr lang="en-GB" dirty="0"/>
              <a:t>Case Study: Camille</a:t>
            </a:r>
            <a:endParaRPr lang="en-US" dirty="0"/>
          </a:p>
        </p:txBody>
      </p:sp>
      <p:sp>
        <p:nvSpPr>
          <p:cNvPr id="3" name="Content Placeholder 2">
            <a:extLst>
              <a:ext uri="{FF2B5EF4-FFF2-40B4-BE49-F238E27FC236}">
                <a16:creationId xmlns:a16="http://schemas.microsoft.com/office/drawing/2014/main" id="{637DD5C7-ABD8-A6A4-73CF-449205BB1269}"/>
              </a:ext>
            </a:extLst>
          </p:cNvPr>
          <p:cNvSpPr>
            <a:spLocks noGrp="1"/>
          </p:cNvSpPr>
          <p:nvPr>
            <p:ph idx="1"/>
          </p:nvPr>
        </p:nvSpPr>
        <p:spPr>
          <a:xfrm>
            <a:off x="593113" y="1729805"/>
            <a:ext cx="8214003" cy="4645699"/>
          </a:xfrm>
        </p:spPr>
        <p:txBody>
          <a:bodyPr>
            <a:normAutofit/>
          </a:bodyPr>
          <a:lstStyle/>
          <a:p>
            <a:pPr marL="0" indent="0">
              <a:spcBef>
                <a:spcPts val="1200"/>
              </a:spcBef>
              <a:buNone/>
            </a:pPr>
            <a:r>
              <a:rPr lang="en-GB" sz="2800" dirty="0"/>
              <a:t>Week 1</a:t>
            </a:r>
          </a:p>
          <a:p>
            <a:pPr>
              <a:spcBef>
                <a:spcPts val="1200"/>
              </a:spcBef>
            </a:pPr>
            <a:r>
              <a:rPr lang="en-GB" sz="2800" dirty="0"/>
              <a:t>Day 1: Analyses data and makes a graph</a:t>
            </a:r>
          </a:p>
          <a:p>
            <a:pPr>
              <a:spcBef>
                <a:spcPts val="1200"/>
              </a:spcBef>
            </a:pPr>
            <a:r>
              <a:rPr lang="en-GB" sz="2800" dirty="0"/>
              <a:t>Day 2: Submits to journal A</a:t>
            </a:r>
          </a:p>
          <a:p>
            <a:pPr>
              <a:spcBef>
                <a:spcPts val="1200"/>
              </a:spcBef>
            </a:pPr>
            <a:r>
              <a:rPr lang="en-GB" sz="2800" dirty="0"/>
              <a:t>Day 3: Continues to explore other analyses</a:t>
            </a:r>
          </a:p>
          <a:p>
            <a:pPr>
              <a:spcBef>
                <a:spcPts val="1200"/>
              </a:spcBef>
            </a:pPr>
            <a:r>
              <a:rPr lang="en-GB" sz="2800" dirty="0"/>
              <a:t>Day 4: Modifies her graph </a:t>
            </a:r>
          </a:p>
          <a:p>
            <a:pPr>
              <a:spcBef>
                <a:spcPts val="1200"/>
              </a:spcBef>
            </a:pPr>
            <a:r>
              <a:rPr lang="en-GB" sz="2800" dirty="0"/>
              <a:t>Day 5: Submits to journal B</a:t>
            </a:r>
            <a:endParaRPr lang="en-US" sz="2800" dirty="0"/>
          </a:p>
        </p:txBody>
      </p:sp>
      <p:sp>
        <p:nvSpPr>
          <p:cNvPr id="5" name="TextBox 4">
            <a:extLst>
              <a:ext uri="{FF2B5EF4-FFF2-40B4-BE49-F238E27FC236}">
                <a16:creationId xmlns:a16="http://schemas.microsoft.com/office/drawing/2014/main" id="{93839ED1-E09B-A34F-79B8-F0F4F2EF6C5C}"/>
              </a:ext>
            </a:extLst>
          </p:cNvPr>
          <p:cNvSpPr txBox="1"/>
          <p:nvPr/>
        </p:nvSpPr>
        <p:spPr>
          <a:xfrm>
            <a:off x="488322" y="6627168"/>
            <a:ext cx="6096000" cy="230832"/>
          </a:xfrm>
          <a:prstGeom prst="rect">
            <a:avLst/>
          </a:prstGeom>
          <a:noFill/>
        </p:spPr>
        <p:txBody>
          <a:bodyPr wrap="square">
            <a:spAutoFit/>
          </a:bodyPr>
          <a:lstStyle/>
          <a:p>
            <a:r>
              <a:rPr lang="en-GB" sz="900" dirty="0"/>
              <a:t>Work icons created by </a:t>
            </a:r>
            <a:r>
              <a:rPr lang="en-GB" sz="900" dirty="0" err="1"/>
              <a:t>Eucalyp</a:t>
            </a:r>
            <a:r>
              <a:rPr lang="en-GB" sz="900" dirty="0"/>
              <a:t> - </a:t>
            </a:r>
            <a:r>
              <a:rPr lang="en-GB" sz="900" dirty="0" err="1"/>
              <a:t>Flaticon</a:t>
            </a:r>
            <a:endParaRPr lang="en-GB" sz="900" dirty="0"/>
          </a:p>
        </p:txBody>
      </p:sp>
      <p:pic>
        <p:nvPicPr>
          <p:cNvPr id="8" name="Picture 7" descr="A picture containing black, darkness&#10;&#10;Description automatically generated">
            <a:extLst>
              <a:ext uri="{FF2B5EF4-FFF2-40B4-BE49-F238E27FC236}">
                <a16:creationId xmlns:a16="http://schemas.microsoft.com/office/drawing/2014/main" id="{94088504-E9E5-055C-326D-0F5C9B39C22B}"/>
              </a:ext>
            </a:extLst>
          </p:cNvPr>
          <p:cNvPicPr>
            <a:picLocks noChangeAspect="1"/>
          </p:cNvPicPr>
          <p:nvPr/>
        </p:nvPicPr>
        <p:blipFill>
          <a:blip r:embed="rId3">
            <a:duotone>
              <a:schemeClr val="accent1">
                <a:shade val="45000"/>
                <a:satMod val="135000"/>
              </a:schemeClr>
              <a:prstClr val="white"/>
            </a:duotone>
          </a:blip>
          <a:stretch>
            <a:fillRect/>
          </a:stretch>
        </p:blipFill>
        <p:spPr>
          <a:xfrm>
            <a:off x="7119062" y="816638"/>
            <a:ext cx="2682254" cy="2682254"/>
          </a:xfrm>
          <a:prstGeom prst="rect">
            <a:avLst/>
          </a:prstGeom>
        </p:spPr>
      </p:pic>
    </p:spTree>
    <p:extLst>
      <p:ext uri="{BB962C8B-B14F-4D97-AF65-F5344CB8AC3E}">
        <p14:creationId xmlns:p14="http://schemas.microsoft.com/office/powerpoint/2010/main" val="39041443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D4AED-4CFD-7ECE-FECD-AA032A3F04F2}"/>
              </a:ext>
            </a:extLst>
          </p:cNvPr>
          <p:cNvSpPr>
            <a:spLocks noGrp="1"/>
          </p:cNvSpPr>
          <p:nvPr>
            <p:ph type="title"/>
          </p:nvPr>
        </p:nvSpPr>
        <p:spPr>
          <a:xfrm>
            <a:off x="705409" y="543251"/>
            <a:ext cx="8596668" cy="1320800"/>
          </a:xfrm>
        </p:spPr>
        <p:txBody>
          <a:bodyPr/>
          <a:lstStyle/>
          <a:p>
            <a:r>
              <a:rPr lang="en-GB" dirty="0"/>
              <a:t>Case Study: Camille</a:t>
            </a:r>
            <a:endParaRPr lang="en-US" dirty="0"/>
          </a:p>
        </p:txBody>
      </p:sp>
      <p:sp>
        <p:nvSpPr>
          <p:cNvPr id="3" name="Content Placeholder 2">
            <a:extLst>
              <a:ext uri="{FF2B5EF4-FFF2-40B4-BE49-F238E27FC236}">
                <a16:creationId xmlns:a16="http://schemas.microsoft.com/office/drawing/2014/main" id="{637DD5C7-ABD8-A6A4-73CF-449205BB1269}"/>
              </a:ext>
            </a:extLst>
          </p:cNvPr>
          <p:cNvSpPr>
            <a:spLocks noGrp="1"/>
          </p:cNvSpPr>
          <p:nvPr>
            <p:ph idx="1"/>
          </p:nvPr>
        </p:nvSpPr>
        <p:spPr>
          <a:xfrm>
            <a:off x="593113" y="1729805"/>
            <a:ext cx="10757639" cy="4645699"/>
          </a:xfrm>
        </p:spPr>
        <p:txBody>
          <a:bodyPr>
            <a:normAutofit/>
          </a:bodyPr>
          <a:lstStyle/>
          <a:p>
            <a:pPr marL="0" indent="0">
              <a:spcBef>
                <a:spcPts val="1200"/>
              </a:spcBef>
              <a:buNone/>
            </a:pPr>
            <a:r>
              <a:rPr lang="en-GB" sz="2800" dirty="0"/>
              <a:t>Week 2</a:t>
            </a:r>
          </a:p>
          <a:p>
            <a:pPr>
              <a:spcBef>
                <a:spcPts val="1200"/>
              </a:spcBef>
            </a:pPr>
            <a:r>
              <a:rPr lang="en-GB" sz="2800" dirty="0"/>
              <a:t>Day 1: Journal A has questions.</a:t>
            </a:r>
            <a:br>
              <a:rPr lang="en-GB" sz="2800" dirty="0"/>
            </a:br>
            <a:r>
              <a:rPr lang="en-GB" sz="2800" dirty="0"/>
              <a:t>Camille goes back to her program</a:t>
            </a:r>
            <a:br>
              <a:rPr lang="en-GB" sz="2800" dirty="0"/>
            </a:br>
            <a:r>
              <a:rPr lang="en-GB" sz="2800" dirty="0"/>
              <a:t>but it’s all changed</a:t>
            </a:r>
          </a:p>
          <a:p>
            <a:pPr lvl="1">
              <a:spcBef>
                <a:spcPts val="1200"/>
              </a:spcBef>
            </a:pPr>
            <a:r>
              <a:rPr lang="en-GB" sz="2600" dirty="0"/>
              <a:t>“My code has changed”</a:t>
            </a:r>
          </a:p>
          <a:p>
            <a:pPr lvl="1">
              <a:spcBef>
                <a:spcPts val="1200"/>
              </a:spcBef>
            </a:pPr>
            <a:r>
              <a:rPr lang="en-GB" sz="2600" dirty="0"/>
              <a:t>“What did I call that version?”</a:t>
            </a:r>
          </a:p>
          <a:p>
            <a:pPr lvl="1">
              <a:spcBef>
                <a:spcPts val="1200"/>
              </a:spcBef>
            </a:pPr>
            <a:r>
              <a:rPr lang="en-GB" sz="2600" dirty="0"/>
              <a:t>“Where did I store it?”</a:t>
            </a:r>
          </a:p>
          <a:p>
            <a:pPr lvl="1">
              <a:spcBef>
                <a:spcPts val="1200"/>
              </a:spcBef>
            </a:pPr>
            <a:r>
              <a:rPr lang="en-GB" sz="2600" dirty="0"/>
              <a:t>“I don’t want to have to undo the work I have for Journal B”</a:t>
            </a:r>
          </a:p>
        </p:txBody>
      </p:sp>
      <p:sp>
        <p:nvSpPr>
          <p:cNvPr id="5" name="TextBox 4">
            <a:extLst>
              <a:ext uri="{FF2B5EF4-FFF2-40B4-BE49-F238E27FC236}">
                <a16:creationId xmlns:a16="http://schemas.microsoft.com/office/drawing/2014/main" id="{93839ED1-E09B-A34F-79B8-F0F4F2EF6C5C}"/>
              </a:ext>
            </a:extLst>
          </p:cNvPr>
          <p:cNvSpPr txBox="1"/>
          <p:nvPr/>
        </p:nvSpPr>
        <p:spPr>
          <a:xfrm>
            <a:off x="593113" y="6627168"/>
            <a:ext cx="6096000" cy="230832"/>
          </a:xfrm>
          <a:prstGeom prst="rect">
            <a:avLst/>
          </a:prstGeom>
          <a:noFill/>
        </p:spPr>
        <p:txBody>
          <a:bodyPr wrap="square">
            <a:spAutoFit/>
          </a:bodyPr>
          <a:lstStyle/>
          <a:p>
            <a:r>
              <a:rPr lang="en-GB" sz="900" dirty="0"/>
              <a:t>Work icons created by </a:t>
            </a:r>
            <a:r>
              <a:rPr lang="en-GB" sz="900" dirty="0" err="1"/>
              <a:t>Eucalyp</a:t>
            </a:r>
            <a:r>
              <a:rPr lang="en-GB" sz="900" dirty="0"/>
              <a:t> - </a:t>
            </a:r>
            <a:r>
              <a:rPr lang="en-GB" sz="900" dirty="0" err="1"/>
              <a:t>Flaticon</a:t>
            </a:r>
            <a:endParaRPr lang="en-GB" sz="900" dirty="0"/>
          </a:p>
        </p:txBody>
      </p:sp>
      <p:pic>
        <p:nvPicPr>
          <p:cNvPr id="6" name="Picture 5" descr="A picture containing black, darkness&#10;&#10;Description automatically generated">
            <a:extLst>
              <a:ext uri="{FF2B5EF4-FFF2-40B4-BE49-F238E27FC236}">
                <a16:creationId xmlns:a16="http://schemas.microsoft.com/office/drawing/2014/main" id="{D99AEF1C-6845-6F89-781A-327CFCA5ECF9}"/>
              </a:ext>
            </a:extLst>
          </p:cNvPr>
          <p:cNvPicPr>
            <a:picLocks noChangeAspect="1"/>
          </p:cNvPicPr>
          <p:nvPr/>
        </p:nvPicPr>
        <p:blipFill>
          <a:blip r:embed="rId3">
            <a:duotone>
              <a:schemeClr val="accent1">
                <a:shade val="45000"/>
                <a:satMod val="135000"/>
              </a:schemeClr>
              <a:prstClr val="white"/>
            </a:duotone>
          </a:blip>
          <a:stretch>
            <a:fillRect/>
          </a:stretch>
        </p:blipFill>
        <p:spPr>
          <a:xfrm>
            <a:off x="6448926" y="482496"/>
            <a:ext cx="3320106" cy="3320106"/>
          </a:xfrm>
          <a:prstGeom prst="rect">
            <a:avLst/>
          </a:prstGeom>
        </p:spPr>
      </p:pic>
    </p:spTree>
    <p:extLst>
      <p:ext uri="{BB962C8B-B14F-4D97-AF65-F5344CB8AC3E}">
        <p14:creationId xmlns:p14="http://schemas.microsoft.com/office/powerpoint/2010/main" val="14580705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93567-EEEF-18BB-22F1-6C0F84BA247F}"/>
              </a:ext>
            </a:extLst>
          </p:cNvPr>
          <p:cNvSpPr>
            <a:spLocks noGrp="1"/>
          </p:cNvSpPr>
          <p:nvPr>
            <p:ph type="title"/>
          </p:nvPr>
        </p:nvSpPr>
        <p:spPr/>
        <p:txBody>
          <a:bodyPr/>
          <a:lstStyle/>
          <a:p>
            <a:r>
              <a:rPr lang="en-US" dirty="0"/>
              <a:t>Exercise 1: Committing </a:t>
            </a:r>
          </a:p>
        </p:txBody>
      </p:sp>
      <p:sp>
        <p:nvSpPr>
          <p:cNvPr id="3" name="Content Placeholder 2">
            <a:extLst>
              <a:ext uri="{FF2B5EF4-FFF2-40B4-BE49-F238E27FC236}">
                <a16:creationId xmlns:a16="http://schemas.microsoft.com/office/drawing/2014/main" id="{EDC0499F-2EE5-B048-FA07-B4422148459A}"/>
              </a:ext>
            </a:extLst>
          </p:cNvPr>
          <p:cNvSpPr>
            <a:spLocks noGrp="1"/>
          </p:cNvSpPr>
          <p:nvPr>
            <p:ph idx="1"/>
          </p:nvPr>
        </p:nvSpPr>
        <p:spPr/>
        <p:txBody>
          <a:bodyPr>
            <a:normAutofit/>
          </a:bodyPr>
          <a:lstStyle/>
          <a:p>
            <a:r>
              <a:rPr lang="en-US" sz="2400" dirty="0"/>
              <a:t>Go to the App and work through Q1, Q2, and Q3 in the committing section </a:t>
            </a:r>
          </a:p>
          <a:p>
            <a:r>
              <a:rPr lang="en-US" sz="2400" dirty="0"/>
              <a:t>We will be available for help if you need it, just ask your questions in the chat box </a:t>
            </a:r>
          </a:p>
          <a:p>
            <a:r>
              <a:rPr lang="en-US" sz="2400" dirty="0"/>
              <a:t>We will resume in 10 min</a:t>
            </a:r>
          </a:p>
        </p:txBody>
      </p:sp>
    </p:spTree>
    <p:extLst>
      <p:ext uri="{BB962C8B-B14F-4D97-AF65-F5344CB8AC3E}">
        <p14:creationId xmlns:p14="http://schemas.microsoft.com/office/powerpoint/2010/main" val="6067748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ARPPTCOMPATIBLERD03" val="RXP"/>
  <p:tag name="VARPPTTYPE" val="RXP"/>
  <p:tag name="VARPPTSLIDEFORMAT" val="RXP"/>
  <p:tag name="VARPPTCOMPATIBLE4" val="RXP"/>
  <p:tag name="VARSAVEMESSAGETIMESTAMP" val="RXP05/05/2018"/>
</p:tagLst>
</file>

<file path=ppt/tags/tag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cd633cd-f372-4fba-b23d-7c1b2f5b62a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D9D73350174543A9BB998500D362EA" ma:contentTypeVersion="15" ma:contentTypeDescription="Create a new document." ma:contentTypeScope="" ma:versionID="c2978375a4bcff12b0735e42992662e9">
  <xsd:schema xmlns:xsd="http://www.w3.org/2001/XMLSchema" xmlns:xs="http://www.w3.org/2001/XMLSchema" xmlns:p="http://schemas.microsoft.com/office/2006/metadata/properties" xmlns:ns3="dcd633cd-f372-4fba-b23d-7c1b2f5b62ad" xmlns:ns4="048ed334-bb8e-41b1-9809-109a13b99b97" targetNamespace="http://schemas.microsoft.com/office/2006/metadata/properties" ma:root="true" ma:fieldsID="9f3f9b6273bd8731726832b629d49f78" ns3:_="" ns4:_="">
    <xsd:import namespace="dcd633cd-f372-4fba-b23d-7c1b2f5b62ad"/>
    <xsd:import namespace="048ed334-bb8e-41b1-9809-109a13b99b9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3:MediaServiceDateTaken" minOccurs="0"/>
                <xsd:element ref="ns4:SharedWithUsers" minOccurs="0"/>
                <xsd:element ref="ns4:SharedWithDetails" minOccurs="0"/>
                <xsd:element ref="ns4:SharingHintHash" minOccurs="0"/>
                <xsd:element ref="ns3:_activity" minOccurs="0"/>
                <xsd:element ref="ns3:MediaServiceObjectDetectorVersion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d633cd-f372-4fba-b23d-7c1b2f5b62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_activity" ma:index="20" nillable="true" ma:displayName="_activity" ma:hidden="true" ma:internalName="_activity">
      <xsd:simpleType>
        <xsd:restriction base="dms:Note"/>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8ed334-bb8e-41b1-9809-109a13b99b9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9F1334-973C-486F-B4F7-AD8CD3F830BA}">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cd633cd-f372-4fba-b23d-7c1b2f5b62ad"/>
    <ds:schemaRef ds:uri="http://purl.org/dc/terms/"/>
    <ds:schemaRef ds:uri="048ed334-bb8e-41b1-9809-109a13b99b97"/>
    <ds:schemaRef ds:uri="http://www.w3.org/XML/1998/namespace"/>
    <ds:schemaRef ds:uri="http://purl.org/dc/dcmitype/"/>
  </ds:schemaRefs>
</ds:datastoreItem>
</file>

<file path=customXml/itemProps2.xml><?xml version="1.0" encoding="utf-8"?>
<ds:datastoreItem xmlns:ds="http://schemas.openxmlformats.org/officeDocument/2006/customXml" ds:itemID="{F5695EF6-5670-45D0-AAA0-20C62A5A90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cd633cd-f372-4fba-b23d-7c1b2f5b62ad"/>
    <ds:schemaRef ds:uri="048ed334-bb8e-41b1-9809-109a13b99b9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13A5D8E-3EAD-435D-B39B-31A72F49A7F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acet</Template>
  <TotalTime>227</TotalTime>
  <Words>3940</Words>
  <Application>Microsoft Macintosh PowerPoint</Application>
  <PresentationFormat>Widescreen</PresentationFormat>
  <Paragraphs>456</Paragraphs>
  <Slides>63</Slides>
  <Notes>44</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63</vt:i4>
      </vt:variant>
    </vt:vector>
  </HeadingPairs>
  <TitlesOfParts>
    <vt:vector size="72" baseType="lpstr">
      <vt:lpstr>-apple-system</vt:lpstr>
      <vt:lpstr>Arial</vt:lpstr>
      <vt:lpstr>Arial monospaced for SAP</vt:lpstr>
      <vt:lpstr>Calibri</vt:lpstr>
      <vt:lpstr>Courier New</vt:lpstr>
      <vt:lpstr>Trebuchet MS</vt:lpstr>
      <vt:lpstr>Wingdings</vt:lpstr>
      <vt:lpstr>Wingdings 3</vt:lpstr>
      <vt:lpstr>Facet</vt:lpstr>
      <vt:lpstr>Version Control with Git &amp; RStudio</vt:lpstr>
      <vt:lpstr>Introductions</vt:lpstr>
      <vt:lpstr>Introduction Agenda</vt:lpstr>
      <vt:lpstr>Our Environment</vt:lpstr>
      <vt:lpstr>What is Git?</vt:lpstr>
      <vt:lpstr>Some basic terminology</vt:lpstr>
      <vt:lpstr>Case Study: Camille</vt:lpstr>
      <vt:lpstr>Case Study: Camille</vt:lpstr>
      <vt:lpstr>Exercise 1: Committing </vt:lpstr>
      <vt:lpstr>What we did in the exercise </vt:lpstr>
      <vt:lpstr>Checking-out</vt:lpstr>
      <vt:lpstr>Tags</vt:lpstr>
      <vt:lpstr>Branching </vt:lpstr>
      <vt:lpstr>Exercise 2: Branching </vt:lpstr>
      <vt:lpstr>What we did in the exercise </vt:lpstr>
      <vt:lpstr>Merging</vt:lpstr>
      <vt:lpstr>Merging</vt:lpstr>
      <vt:lpstr>Merging – Conflict! </vt:lpstr>
      <vt:lpstr>Exercise 3: Merging </vt:lpstr>
      <vt:lpstr>What we did in the exercise </vt:lpstr>
      <vt:lpstr>A branching rule of thumb</vt:lpstr>
      <vt:lpstr>Case Study: Camille &amp; Sylvie</vt:lpstr>
      <vt:lpstr>Collaboration</vt:lpstr>
      <vt:lpstr>Let’s walk through how this works</vt:lpstr>
      <vt:lpstr>Let’s walk through how this works</vt:lpstr>
      <vt:lpstr>Exercise 4: Remotes </vt:lpstr>
      <vt:lpstr>What we did in the exercise </vt:lpstr>
      <vt:lpstr>Case Study: Camille &amp; Edward</vt:lpstr>
      <vt:lpstr>Let’s walk through how this works</vt:lpstr>
      <vt:lpstr>Let’s walk through how this works</vt:lpstr>
      <vt:lpstr>Let’s walk through how this works</vt:lpstr>
      <vt:lpstr>Coffee Break</vt:lpstr>
      <vt:lpstr>Git in Practice</vt:lpstr>
      <vt:lpstr>What we will cover</vt:lpstr>
      <vt:lpstr>Pre-requisites for the practical session</vt:lpstr>
      <vt:lpstr>GitHub Interface (I)</vt:lpstr>
      <vt:lpstr>GitHub Interface (II)</vt:lpstr>
      <vt:lpstr>How to fork the project (I)</vt:lpstr>
      <vt:lpstr>PowerPoint Presentation</vt:lpstr>
      <vt:lpstr>PowerPoint Presentation</vt:lpstr>
      <vt:lpstr>Set up your posit Cloud session</vt:lpstr>
      <vt:lpstr>RStudio IDE and Git GUI</vt:lpstr>
      <vt:lpstr>Set your identity</vt:lpstr>
      <vt:lpstr>Set your Personal Access Token (I)</vt:lpstr>
      <vt:lpstr>Set your Personal Access Token (II)</vt:lpstr>
      <vt:lpstr>Making a commit</vt:lpstr>
      <vt:lpstr>Create a new branch</vt:lpstr>
      <vt:lpstr>Merge your new branch into main</vt:lpstr>
      <vt:lpstr>Setting up the pull request to merge the branch</vt:lpstr>
      <vt:lpstr>Solve the merge conflict</vt:lpstr>
      <vt:lpstr>Setting up a pull request to merge into the original project</vt:lpstr>
      <vt:lpstr>What if the original project changed?</vt:lpstr>
      <vt:lpstr>Tips with the Terminal </vt:lpstr>
      <vt:lpstr>Tips with the Terminal (merge)</vt:lpstr>
      <vt:lpstr>Github in Practice</vt:lpstr>
      <vt:lpstr>My own Issue with dplyr</vt:lpstr>
      <vt:lpstr>GitHub Issues (I)</vt:lpstr>
      <vt:lpstr>GitHub Issues (II)</vt:lpstr>
      <vt:lpstr>GitHub Issues (II)</vt:lpstr>
      <vt:lpstr>Authoring GitHub Issues (I)</vt:lpstr>
      <vt:lpstr>Authoring GitHub Issues (II)</vt:lpstr>
      <vt:lpstr>Summary - What we covered today</vt:lpstr>
      <vt:lpstr>Additional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ication and Implementation of Methodologies in Statistics (AIMS) SIG Conference session on</dc:title>
  <dc:creator>Lisa Banks</dc:creator>
  <cp:lastModifiedBy>Christina Fillmore</cp:lastModifiedBy>
  <cp:revision>148</cp:revision>
  <dcterms:created xsi:type="dcterms:W3CDTF">2018-04-18T12:02:16Z</dcterms:created>
  <dcterms:modified xsi:type="dcterms:W3CDTF">2023-10-18T12:1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9D73350174543A9BB998500D362EA</vt:lpwstr>
  </property>
</Properties>
</file>